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6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7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68.xml" ContentType="application/vnd.openxmlformats-officedocument.presentationml.slideLayout+xml"/>
  <Override PartName="/ppt/theme/theme8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heme/theme9.xml" ContentType="application/vnd.openxmlformats-officedocument.theme+xml"/>
  <Override PartName="/ppt/tags/tag75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0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11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2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13.xml" ContentType="application/vnd.openxmlformats-officedocument.them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tags/tag131.xml" ContentType="application/vnd.openxmlformats-officedocument.presentationml.tags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  <p:sldMasterId id="2147483758" r:id="rId3"/>
    <p:sldMasterId id="2147483782" r:id="rId4"/>
    <p:sldMasterId id="2147483824" r:id="rId5"/>
    <p:sldMasterId id="2147483891" r:id="rId6"/>
    <p:sldMasterId id="2147483894" r:id="rId7"/>
    <p:sldMasterId id="2147483895" r:id="rId8"/>
    <p:sldMasterId id="2147483896" r:id="rId9"/>
    <p:sldMasterId id="2147483899" r:id="rId10"/>
    <p:sldMasterId id="2147483924" r:id="rId11"/>
    <p:sldMasterId id="2147483950" r:id="rId12"/>
    <p:sldMasterId id="2147483984" r:id="rId13"/>
    <p:sldMasterId id="2147484000" r:id="rId14"/>
  </p:sldMasterIdLst>
  <p:notesMasterIdLst>
    <p:notesMasterId r:id="rId20"/>
  </p:notesMasterIdLst>
  <p:handoutMasterIdLst>
    <p:handoutMasterId r:id="rId21"/>
  </p:handoutMasterIdLst>
  <p:sldIdLst>
    <p:sldId id="259" r:id="rId15"/>
    <p:sldId id="257" r:id="rId16"/>
    <p:sldId id="261" r:id="rId17"/>
    <p:sldId id="377" r:id="rId18"/>
    <p:sldId id="378" r:id="rId19"/>
  </p:sldIdLst>
  <p:sldSz cx="13442950" cy="7561263"/>
  <p:notesSz cx="6797675" cy="9926638"/>
  <p:custDataLst>
    <p:tags r:id="rId22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B3449"/>
    <a:srgbClr val="DFDEDE"/>
    <a:srgbClr val="000000"/>
    <a:srgbClr val="CAC8C8"/>
    <a:srgbClr val="8547AD"/>
    <a:srgbClr val="33006F"/>
    <a:srgbClr val="0099A8"/>
    <a:srgbClr val="EA576C"/>
    <a:srgbClr val="8A8A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278" autoAdjust="0"/>
    <p:restoredTop sz="95892" autoAdjust="0"/>
  </p:normalViewPr>
  <p:slideViewPr>
    <p:cSldViewPr snapToGrid="0">
      <p:cViewPr varScale="1">
        <p:scale>
          <a:sx n="100" d="100"/>
          <a:sy n="100" d="100"/>
        </p:scale>
        <p:origin x="756" y="78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79" d="100"/>
          <a:sy n="79" d="100"/>
        </p:scale>
        <p:origin x="319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7.xml"/><Relationship Id="rId13" Type="http://schemas.openxmlformats.org/officeDocument/2006/relationships/slideMaster" Target="slideMasters/slideMaster12.xml"/><Relationship Id="rId18" Type="http://schemas.openxmlformats.org/officeDocument/2006/relationships/slide" Target="slides/slide4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2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6.xml"/><Relationship Id="rId12" Type="http://schemas.openxmlformats.org/officeDocument/2006/relationships/slideMaster" Target="slideMasters/slideMaster11.xml"/><Relationship Id="rId17" Type="http://schemas.openxmlformats.org/officeDocument/2006/relationships/slide" Target="slides/slide3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Master" Target="slideMasters/slideMaster10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4.xml"/><Relationship Id="rId15" Type="http://schemas.openxmlformats.org/officeDocument/2006/relationships/slide" Target="slides/slide1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Master" Target="slideMasters/slideMaster9.xml"/><Relationship Id="rId19" Type="http://schemas.openxmlformats.org/officeDocument/2006/relationships/slide" Target="slides/slide5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Master" Target="slideMasters/slideMaster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GB" baseline="0" dirty="0"/>
              <a:t>Spider-Man: Far From Home – Ratings (TVRs)</a:t>
            </a:r>
            <a:endParaRPr lang="en-US" dirty="0"/>
          </a:p>
        </c:rich>
      </c:tx>
      <c:layout>
        <c:manualLayout>
          <c:xMode val="edge"/>
          <c:yMode val="edge"/>
          <c:x val="0.33247420726669047"/>
          <c:y val="1.97645143707083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2.7466111712846179E-2"/>
          <c:y val="8.9187371097821502E-2"/>
          <c:w val="0.96007507394355363"/>
          <c:h val="0.77099678126324045"/>
        </c:manualLayout>
      </c:layout>
      <c:lineChart>
        <c:grouping val="standard"/>
        <c:varyColors val="0"/>
        <c:ser>
          <c:idx val="0"/>
          <c:order val="0"/>
          <c:tx>
            <c:strRef>
              <c:f>Sheet2!$E$2</c:f>
              <c:strCache>
                <c:ptCount val="1"/>
                <c:pt idx="0">
                  <c:v>16-34 Men 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6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852-4194-9322-550B7F62214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A$3:$A$9</c:f>
              <c:strCache>
                <c:ptCount val="7"/>
                <c:pt idx="0">
                  <c:v>x</c:v>
                </c:pt>
                <c:pt idx="1">
                  <c:v>5/7 - 11/7</c:v>
                </c:pt>
                <c:pt idx="2">
                  <c:v>12/7 - 18/7</c:v>
                </c:pt>
                <c:pt idx="3">
                  <c:v>19/7 - 25/7</c:v>
                </c:pt>
                <c:pt idx="4">
                  <c:v>26/7 - 1/8</c:v>
                </c:pt>
                <c:pt idx="5">
                  <c:v>2/8 - 8/8</c:v>
                </c:pt>
                <c:pt idx="6">
                  <c:v>9/8 - 15/8</c:v>
                </c:pt>
              </c:strCache>
            </c:strRef>
          </c:cat>
          <c:val>
            <c:numRef>
              <c:f>Sheet2!$E$3:$E$9</c:f>
              <c:numCache>
                <c:formatCode>General</c:formatCode>
                <c:ptCount val="7"/>
                <c:pt idx="0">
                  <c:v>0</c:v>
                </c:pt>
                <c:pt idx="1">
                  <c:v>6.5</c:v>
                </c:pt>
                <c:pt idx="2">
                  <c:v>9.74</c:v>
                </c:pt>
                <c:pt idx="3">
                  <c:v>11.37</c:v>
                </c:pt>
                <c:pt idx="4">
                  <c:v>12.18</c:v>
                </c:pt>
                <c:pt idx="5">
                  <c:v>12.65</c:v>
                </c:pt>
                <c:pt idx="6" formatCode="0.0">
                  <c:v>12.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852-4194-9322-550B7F62214F}"/>
            </c:ext>
          </c:extLst>
        </c:ser>
        <c:ser>
          <c:idx val="1"/>
          <c:order val="1"/>
          <c:tx>
            <c:strRef>
              <c:f>Sheet2!$B$2</c:f>
              <c:strCache>
                <c:ptCount val="1"/>
                <c:pt idx="0">
                  <c:v>16-34</c:v>
                </c:pt>
              </c:strCache>
            </c:strRef>
          </c:tx>
          <c:spPr>
            <a:ln w="28575" cap="rnd">
              <a:solidFill>
                <a:schemeClr val="bg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2"/>
              </a:solidFill>
              <a:ln w="9525">
                <a:solidFill>
                  <a:schemeClr val="bg2"/>
                </a:solidFill>
              </a:ln>
              <a:effectLst/>
            </c:spPr>
          </c:marker>
          <c:dLbls>
            <c:dLbl>
              <c:idx val="6"/>
              <c:layout>
                <c:manualLayout>
                  <c:x val="0"/>
                  <c:y val="2.4705642963385459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852-4194-9322-550B7F62214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2!$A$3:$A$9</c:f>
              <c:strCache>
                <c:ptCount val="7"/>
                <c:pt idx="0">
                  <c:v>x</c:v>
                </c:pt>
                <c:pt idx="1">
                  <c:v>5/7 - 11/7</c:v>
                </c:pt>
                <c:pt idx="2">
                  <c:v>12/7 - 18/7</c:v>
                </c:pt>
                <c:pt idx="3">
                  <c:v>19/7 - 25/7</c:v>
                </c:pt>
                <c:pt idx="4">
                  <c:v>26/7 - 1/8</c:v>
                </c:pt>
                <c:pt idx="5">
                  <c:v>2/8 - 8/8</c:v>
                </c:pt>
                <c:pt idx="6">
                  <c:v>9/8 - 15/8</c:v>
                </c:pt>
              </c:strCache>
            </c:strRef>
          </c:cat>
          <c:val>
            <c:numRef>
              <c:f>Sheet2!$B$3:$B$9</c:f>
              <c:numCache>
                <c:formatCode>General</c:formatCode>
                <c:ptCount val="7"/>
                <c:pt idx="0">
                  <c:v>0</c:v>
                </c:pt>
                <c:pt idx="1">
                  <c:v>5.6</c:v>
                </c:pt>
                <c:pt idx="2">
                  <c:v>8.4</c:v>
                </c:pt>
                <c:pt idx="3">
                  <c:v>9.8000000000000007</c:v>
                </c:pt>
                <c:pt idx="4">
                  <c:v>10.5</c:v>
                </c:pt>
                <c:pt idx="5">
                  <c:v>10.91</c:v>
                </c:pt>
                <c:pt idx="6" formatCode="0.0">
                  <c:v>11.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852-4194-9322-550B7F62214F}"/>
            </c:ext>
          </c:extLst>
        </c:ser>
        <c:ser>
          <c:idx val="2"/>
          <c:order val="2"/>
          <c:tx>
            <c:strRef>
              <c:f>Sheet2!$D$2</c:f>
              <c:strCache>
                <c:ptCount val="1"/>
                <c:pt idx="0">
                  <c:v>16-2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6"/>
              <c:layout>
                <c:manualLayout>
                  <c:x val="0"/>
                  <c:y val="-9.8822571853542061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852-4194-9322-550B7F62214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2!$A$3:$A$9</c:f>
              <c:strCache>
                <c:ptCount val="7"/>
                <c:pt idx="0">
                  <c:v>x</c:v>
                </c:pt>
                <c:pt idx="1">
                  <c:v>5/7 - 11/7</c:v>
                </c:pt>
                <c:pt idx="2">
                  <c:v>12/7 - 18/7</c:v>
                </c:pt>
                <c:pt idx="3">
                  <c:v>19/7 - 25/7</c:v>
                </c:pt>
                <c:pt idx="4">
                  <c:v>26/7 - 1/8</c:v>
                </c:pt>
                <c:pt idx="5">
                  <c:v>2/8 - 8/8</c:v>
                </c:pt>
                <c:pt idx="6">
                  <c:v>9/8 - 15/8</c:v>
                </c:pt>
              </c:strCache>
            </c:strRef>
          </c:cat>
          <c:val>
            <c:numRef>
              <c:f>Sheet2!$D$3:$D$9</c:f>
              <c:numCache>
                <c:formatCode>General</c:formatCode>
                <c:ptCount val="7"/>
                <c:pt idx="0">
                  <c:v>0</c:v>
                </c:pt>
                <c:pt idx="1">
                  <c:v>7.88</c:v>
                </c:pt>
                <c:pt idx="2">
                  <c:v>11.82</c:v>
                </c:pt>
                <c:pt idx="3">
                  <c:v>13.8</c:v>
                </c:pt>
                <c:pt idx="4">
                  <c:v>14.78</c:v>
                </c:pt>
                <c:pt idx="5">
                  <c:v>15.36</c:v>
                </c:pt>
                <c:pt idx="6" formatCode="0.0">
                  <c:v>15.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852-4194-9322-550B7F62214F}"/>
            </c:ext>
          </c:extLst>
        </c:ser>
        <c:ser>
          <c:idx val="3"/>
          <c:order val="3"/>
          <c:tx>
            <c:strRef>
              <c:f>Sheet2!$C$2</c:f>
              <c:strCache>
                <c:ptCount val="1"/>
                <c:pt idx="0">
                  <c:v>16-24 Men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6"/>
              <c:layout>
                <c:manualLayout>
                  <c:x val="0"/>
                  <c:y val="4.9411285926770918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852-4194-9322-550B7F62214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2!$A$3:$A$9</c:f>
              <c:strCache>
                <c:ptCount val="7"/>
                <c:pt idx="0">
                  <c:v>x</c:v>
                </c:pt>
                <c:pt idx="1">
                  <c:v>5/7 - 11/7</c:v>
                </c:pt>
                <c:pt idx="2">
                  <c:v>12/7 - 18/7</c:v>
                </c:pt>
                <c:pt idx="3">
                  <c:v>19/7 - 25/7</c:v>
                </c:pt>
                <c:pt idx="4">
                  <c:v>26/7 - 1/8</c:v>
                </c:pt>
                <c:pt idx="5">
                  <c:v>2/8 - 8/8</c:v>
                </c:pt>
                <c:pt idx="6">
                  <c:v>9/8 - 15/8</c:v>
                </c:pt>
              </c:strCache>
            </c:strRef>
          </c:cat>
          <c:val>
            <c:numRef>
              <c:f>Sheet2!$C$3:$C$9</c:f>
              <c:numCache>
                <c:formatCode>0.0</c:formatCode>
                <c:ptCount val="7"/>
                <c:pt idx="0" formatCode="General">
                  <c:v>0</c:v>
                </c:pt>
                <c:pt idx="1">
                  <c:v>8.9116878375002404</c:v>
                </c:pt>
                <c:pt idx="2">
                  <c:v>13.367545101455589</c:v>
                </c:pt>
                <c:pt idx="3">
                  <c:v>15.595447043022807</c:v>
                </c:pt>
                <c:pt idx="4">
                  <c:v>16.709424704216872</c:v>
                </c:pt>
                <c:pt idx="5">
                  <c:v>17.359950078256283</c:v>
                </c:pt>
                <c:pt idx="6">
                  <c:v>17.671854214842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852-4194-9322-550B7F6221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247280"/>
        <c:axId val="206247608"/>
      </c:lineChart>
      <c:catAx>
        <c:axId val="2062472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5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247608"/>
        <c:crosses val="autoZero"/>
        <c:auto val="1"/>
        <c:lblAlgn val="ctr"/>
        <c:lblOffset val="100"/>
        <c:noMultiLvlLbl val="0"/>
      </c:catAx>
      <c:valAx>
        <c:axId val="206247608"/>
        <c:scaling>
          <c:orientation val="minMax"/>
          <c:max val="18"/>
        </c:scaling>
        <c:delete val="0"/>
        <c:axPos val="l"/>
        <c:majorGridlines>
          <c:spPr>
            <a:ln w="9525" cap="flat" cmpd="sng" algn="ctr">
              <a:solidFill>
                <a:schemeClr val="accent5">
                  <a:lumMod val="40000"/>
                  <a:lumOff val="60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accent5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247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308172384685736"/>
          <c:y val="0.9589923288005936"/>
          <c:w val="0.53610019490865246"/>
          <c:h val="4.100769788903248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4549068257830076E-2"/>
          <c:y val="5.0138113865148957E-2"/>
          <c:w val="0.89810303818269943"/>
          <c:h val="0.76325630801502198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Inflation</c:v>
                </c:pt>
              </c:strCache>
            </c:strRef>
          </c:tx>
          <c:spPr>
            <a:solidFill>
              <a:schemeClr val="accent3"/>
            </a:solidFill>
            <a:ln w="25743">
              <a:noFill/>
            </a:ln>
          </c:spPr>
          <c:invertIfNegative val="0"/>
          <c:dLbls>
            <c:dLbl>
              <c:idx val="11"/>
              <c:layout>
                <c:manualLayout>
                  <c:x val="-1.4891734130473701E-16"/>
                  <c:y val="3.893201673854057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270-474A-87D1-1FEC8217C18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$B$2:$M$2</c:f>
              <c:numCache>
                <c:formatCode>General</c:formatCode>
                <c:ptCount val="12"/>
                <c:pt idx="0">
                  <c:v>31</c:v>
                </c:pt>
                <c:pt idx="1">
                  <c:v>9</c:v>
                </c:pt>
                <c:pt idx="2">
                  <c:v>-19</c:v>
                </c:pt>
                <c:pt idx="3">
                  <c:v>31</c:v>
                </c:pt>
                <c:pt idx="4">
                  <c:v>17</c:v>
                </c:pt>
                <c:pt idx="5">
                  <c:v>60</c:v>
                </c:pt>
                <c:pt idx="6">
                  <c:v>47</c:v>
                </c:pt>
                <c:pt idx="7">
                  <c:v>32</c:v>
                </c:pt>
                <c:pt idx="8">
                  <c:v>15</c:v>
                </c:pt>
                <c:pt idx="9">
                  <c:v>9</c:v>
                </c:pt>
                <c:pt idx="10">
                  <c:v>16</c:v>
                </c:pt>
                <c:pt idx="1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70-474A-87D1-1FEC8217C18B}"/>
            </c:ext>
          </c:extLst>
        </c:ser>
        <c:ser>
          <c:idx val="2"/>
          <c:order val="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invertIfNegative val="0"/>
          <c:cat>
            <c:strRef>
              <c:f>Sheet1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270-474A-87D1-1FEC8217C1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-2133835488"/>
        <c:axId val="-2133838960"/>
      </c:barChart>
      <c:lineChart>
        <c:grouping val="standard"/>
        <c:varyColors val="0"/>
        <c:ser>
          <c:idx val="5"/>
          <c:order val="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marker>
            <c:symbol val="circle"/>
            <c:size val="4"/>
            <c:spPr>
              <a:solidFill>
                <a:schemeClr val="tx2"/>
              </a:solidFill>
              <a:ln>
                <a:solidFill>
                  <a:schemeClr val="tx2"/>
                </a:solidFill>
                <a:prstDash val="solid"/>
              </a:ln>
            </c:spPr>
          </c:marker>
          <c:cat>
            <c:strRef>
              <c:f>Sheet1!$B$1:$M$1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270-474A-87D1-1FEC8217C1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33835488"/>
        <c:axId val="-2133838960"/>
      </c:lineChart>
      <c:catAx>
        <c:axId val="-21338354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3218">
            <a:solidFill>
              <a:schemeClr val="bg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-2133838960"/>
        <c:crossesAt val="1"/>
        <c:auto val="1"/>
        <c:lblAlgn val="ctr"/>
        <c:lblOffset val="100"/>
        <c:tickLblSkip val="1"/>
        <c:tickMarkSkip val="1"/>
        <c:noMultiLvlLbl val="0"/>
      </c:catAx>
      <c:valAx>
        <c:axId val="-2133838960"/>
        <c:scaling>
          <c:orientation val="minMax"/>
          <c:max val="70"/>
          <c:min val="-20"/>
        </c:scaling>
        <c:delete val="0"/>
        <c:axPos val="l"/>
        <c:numFmt formatCode="0.00" sourceLinked="0"/>
        <c:majorTickMark val="out"/>
        <c:minorTickMark val="none"/>
        <c:tickLblPos val="nextTo"/>
        <c:spPr>
          <a:ln w="3218">
            <a:solidFill>
              <a:schemeClr val="bg1"/>
            </a:solidFill>
            <a:prstDash val="solid"/>
          </a:ln>
        </c:spPr>
        <c:txPr>
          <a:bodyPr rot="0" vert="horz"/>
          <a:lstStyle/>
          <a:p>
            <a:pPr>
              <a:defRPr sz="1000">
                <a:solidFill>
                  <a:schemeClr val="bg1"/>
                </a:solidFill>
              </a:defRPr>
            </a:pPr>
            <a:endParaRPr lang="en-US"/>
          </a:p>
        </c:txPr>
        <c:crossAx val="-2133835488"/>
        <c:crosses val="autoZero"/>
        <c:crossBetween val="between"/>
      </c:valAx>
      <c:spPr>
        <a:noFill/>
        <a:ln w="24693">
          <a:noFill/>
        </a:ln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ayout>
        <c:manualLayout>
          <c:xMode val="edge"/>
          <c:yMode val="edge"/>
          <c:x val="0.24033029900091199"/>
          <c:y val="0.88771289661390895"/>
          <c:w val="0.538895159643762"/>
          <c:h val="8.7527325176966403E-2"/>
        </c:manualLayout>
      </c:layout>
      <c:overlay val="0"/>
      <c:spPr>
        <a:noFill/>
        <a:ln w="25743">
          <a:noFill/>
        </a:ln>
      </c:spPr>
      <c:txPr>
        <a:bodyPr/>
        <a:lstStyle/>
        <a:p>
          <a:pPr>
            <a:defRPr sz="1000"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chemeClr val="bg1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705436455001603E-2"/>
          <c:y val="5.96341150020889E-2"/>
          <c:w val="0.86544780976670899"/>
          <c:h val="0.715774796110095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CM Admissions (m)</c:v>
                </c:pt>
              </c:strCache>
            </c:strRef>
          </c:tx>
          <c:spPr>
            <a:solidFill>
              <a:schemeClr val="accent1"/>
            </a:solidFill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tx1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1-80C5-4836-91BD-D23ACBD58FE5}"/>
              </c:ext>
            </c:extLst>
          </c:dPt>
          <c:dPt>
            <c:idx val="4"/>
            <c:invertIfNegative val="0"/>
            <c:bubble3D val="0"/>
            <c:spPr>
              <a:solidFill>
                <a:schemeClr val="tx1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4-80C5-4836-91BD-D23ACBD58FE5}"/>
              </c:ext>
            </c:extLst>
          </c:dPt>
          <c:dPt>
            <c:idx val="7"/>
            <c:invertIfNegative val="0"/>
            <c:bubble3D val="0"/>
            <c:spPr>
              <a:solidFill>
                <a:schemeClr val="tx1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3-B73E-4D05-8ABE-B5755ECD50E7}"/>
              </c:ext>
            </c:extLst>
          </c:dPt>
          <c:dPt>
            <c:idx val="10"/>
            <c:invertIfNegative val="0"/>
            <c:bubble3D val="0"/>
            <c:spPr>
              <a:solidFill>
                <a:schemeClr val="tx1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4-B73E-4D05-8ABE-B5755ECD50E7}"/>
              </c:ext>
            </c:extLst>
          </c:dPt>
          <c:dPt>
            <c:idx val="13"/>
            <c:invertIfNegative val="0"/>
            <c:bubble3D val="0"/>
            <c:spPr>
              <a:solidFill>
                <a:schemeClr val="tx1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5-B73E-4D05-8ABE-B5755ECD50E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tIns="46800" anchor="b" anchorCtr="0"/>
              <a:lstStyle/>
              <a:p>
                <a:pPr>
                  <a:defRPr lang="en-GB" sz="2000" b="1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Sheet1!$A$2:$A$15</c:f>
              <c:strCache>
                <c:ptCount val="14"/>
                <c:pt idx="0">
                  <c:v>Thor: The Dark World (2013)</c:v>
                </c:pt>
                <c:pt idx="1">
                  <c:v>Thor: Ragnarok (2017)</c:v>
                </c:pt>
                <c:pt idx="3">
                  <c:v>Captain America: The Winter Soldier (2014)</c:v>
                </c:pt>
                <c:pt idx="4">
                  <c:v>Captain America: Civil War (2016)</c:v>
                </c:pt>
                <c:pt idx="6">
                  <c:v>Guardians Of The Galaxy (2014)</c:v>
                </c:pt>
                <c:pt idx="7">
                  <c:v>Guardians Of The Galaxy 2 (2017)</c:v>
                </c:pt>
                <c:pt idx="9">
                  <c:v>Ant-Man (2015)</c:v>
                </c:pt>
                <c:pt idx="10">
                  <c:v>Ant-Man And The Wasp (2018)</c:v>
                </c:pt>
                <c:pt idx="12">
                  <c:v>Avengers: Infinity War (2018)</c:v>
                </c:pt>
                <c:pt idx="13">
                  <c:v>Avengers: Endgame (2019)</c:v>
                </c:pt>
              </c:strCache>
            </c:strRef>
          </c:cat>
          <c:val>
            <c:numRef>
              <c:f>Sheet1!$B$2:$B$15</c:f>
              <c:numCache>
                <c:formatCode>0.0</c:formatCode>
                <c:ptCount val="14"/>
                <c:pt idx="0">
                  <c:v>2</c:v>
                </c:pt>
                <c:pt idx="1">
                  <c:v>3</c:v>
                </c:pt>
                <c:pt idx="3">
                  <c:v>2</c:v>
                </c:pt>
                <c:pt idx="4">
                  <c:v>3.6</c:v>
                </c:pt>
                <c:pt idx="6">
                  <c:v>3</c:v>
                </c:pt>
                <c:pt idx="7">
                  <c:v>3.9</c:v>
                </c:pt>
                <c:pt idx="9">
                  <c:v>1.7</c:v>
                </c:pt>
                <c:pt idx="10">
                  <c:v>1.9</c:v>
                </c:pt>
                <c:pt idx="12">
                  <c:v>6.6</c:v>
                </c:pt>
                <c:pt idx="13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0C5-4836-91BD-D23ACBD58F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"/>
        <c:overlap val="100"/>
        <c:axId val="-414625472"/>
        <c:axId val="-414623152"/>
      </c:barChart>
      <c:lineChart>
        <c:grouping val="standard"/>
        <c:varyColors val="0"/>
        <c:ser>
          <c:idx val="9"/>
          <c:order val="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ln w="25400">
              <a:solidFill>
                <a:schemeClr val="accent5"/>
              </a:solidFill>
            </a:ln>
          </c:spPr>
          <c:marker>
            <c:symbol val="none"/>
          </c:marker>
          <c:cat>
            <c:strRef>
              <c:f>Sheet1!$A$2:$A$15</c:f>
              <c:strCache>
                <c:ptCount val="14"/>
                <c:pt idx="0">
                  <c:v>Thor: The Dark World (2013)</c:v>
                </c:pt>
                <c:pt idx="1">
                  <c:v>Thor: Ragnarok (2017)</c:v>
                </c:pt>
                <c:pt idx="3">
                  <c:v>Captain America: The Winter Soldier (2014)</c:v>
                </c:pt>
                <c:pt idx="4">
                  <c:v>Captain America: Civil War (2016)</c:v>
                </c:pt>
                <c:pt idx="6">
                  <c:v>Guardians Of The Galaxy (2014)</c:v>
                </c:pt>
                <c:pt idx="7">
                  <c:v>Guardians Of The Galaxy 2 (2017)</c:v>
                </c:pt>
                <c:pt idx="9">
                  <c:v>Ant-Man (2015)</c:v>
                </c:pt>
                <c:pt idx="10">
                  <c:v>Ant-Man And The Wasp (2018)</c:v>
                </c:pt>
                <c:pt idx="12">
                  <c:v>Avengers: Infinity War (2018)</c:v>
                </c:pt>
                <c:pt idx="13">
                  <c:v>Avengers: Endgame (2019)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6-80C5-4836-91BD-D23ACBD58F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414625472"/>
        <c:axId val="-414623152"/>
      </c:lineChart>
      <c:catAx>
        <c:axId val="-4146254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-414623152"/>
        <c:crosses val="autoZero"/>
        <c:auto val="1"/>
        <c:lblAlgn val="ctr"/>
        <c:lblOffset val="100"/>
        <c:noMultiLvlLbl val="0"/>
      </c:catAx>
      <c:valAx>
        <c:axId val="-414623152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lang="en-GB" b="1">
                    <a:solidFill>
                      <a:schemeClr val="accent6"/>
                    </a:solidFill>
                  </a:defRPr>
                </a:pPr>
                <a:r>
                  <a:rPr lang="en-GB" b="1" dirty="0">
                    <a:solidFill>
                      <a:schemeClr val="accent6"/>
                    </a:solidFill>
                  </a:rPr>
                  <a:t>DCM Admissions (m)</a:t>
                </a:r>
              </a:p>
            </c:rich>
          </c:tx>
          <c:overlay val="0"/>
        </c:title>
        <c:numFmt formatCode="0.0" sourceLinked="1"/>
        <c:majorTickMark val="out"/>
        <c:minorTickMark val="none"/>
        <c:tickLblPos val="nextTo"/>
        <c:spPr>
          <a:ln w="6350">
            <a:solidFill>
              <a:srgbClr val="8A8A8D"/>
            </a:solidFill>
          </a:ln>
        </c:spPr>
        <c:txPr>
          <a:bodyPr/>
          <a:lstStyle/>
          <a:p>
            <a:pPr>
              <a:defRPr lang="en-GB" b="1">
                <a:solidFill>
                  <a:schemeClr val="accent6"/>
                </a:solidFill>
              </a:defRPr>
            </a:pPr>
            <a:endParaRPr lang="en-US"/>
          </a:p>
        </c:txPr>
        <c:crossAx val="-4146254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chemeClr val="tx2"/>
          </a:solidFill>
        </a:defRPr>
      </a:pPr>
      <a:endParaRPr lang="en-US"/>
    </a:p>
  </c:tx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image" Target="../media/image13.jpg"/><Relationship Id="rId7" Type="http://schemas.openxmlformats.org/officeDocument/2006/relationships/image" Target="../media/image17.jpg"/><Relationship Id="rId2" Type="http://schemas.openxmlformats.org/officeDocument/2006/relationships/image" Target="../media/image12.jpg"/><Relationship Id="rId1" Type="http://schemas.openxmlformats.org/officeDocument/2006/relationships/image" Target="../media/image11.jpg"/><Relationship Id="rId6" Type="http://schemas.openxmlformats.org/officeDocument/2006/relationships/image" Target="../media/image16.jpg"/><Relationship Id="rId5" Type="http://schemas.openxmlformats.org/officeDocument/2006/relationships/image" Target="../media/image15.jpg"/><Relationship Id="rId10" Type="http://schemas.openxmlformats.org/officeDocument/2006/relationships/image" Target="../media/image20.jpg"/><Relationship Id="rId4" Type="http://schemas.openxmlformats.org/officeDocument/2006/relationships/image" Target="../media/image14.jpg"/><Relationship Id="rId9" Type="http://schemas.openxmlformats.org/officeDocument/2006/relationships/image" Target="../media/image19.jp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3001</cdr:x>
      <cdr:y>0.79934</cdr:y>
    </cdr:from>
    <cdr:to>
      <cdr:x>0.68694</cdr:x>
      <cdr:y>1</cdr:y>
    </cdr:to>
    <cdr:pic>
      <cdr:nvPicPr>
        <cdr:cNvPr id="3" name="Picture 2">
          <a:extLst xmlns:a="http://schemas.openxmlformats.org/drawingml/2006/main">
            <a:ext uri="{FF2B5EF4-FFF2-40B4-BE49-F238E27FC236}">
              <a16:creationId xmlns:a16="http://schemas.microsoft.com/office/drawing/2014/main" id="{D5A5705A-A630-4A31-8CE3-D6DDE57D8E05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7861609" y="4244954"/>
          <a:ext cx="710400" cy="10656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69436</cdr:x>
      <cdr:y>0.7989</cdr:y>
    </cdr:from>
    <cdr:to>
      <cdr:x>0.75129</cdr:x>
      <cdr:y>0.99956</cdr:y>
    </cdr:to>
    <cdr:pic>
      <cdr:nvPicPr>
        <cdr:cNvPr id="15" name="Picture 14">
          <a:extLst xmlns:a="http://schemas.openxmlformats.org/drawingml/2006/main">
            <a:ext uri="{FF2B5EF4-FFF2-40B4-BE49-F238E27FC236}">
              <a16:creationId xmlns:a16="http://schemas.microsoft.com/office/drawing/2014/main" id="{32C57110-CEA5-4459-BBA0-8B4848037047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2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8664498" y="4242608"/>
          <a:ext cx="710400" cy="10656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25915</cdr:x>
      <cdr:y>0.79919</cdr:y>
    </cdr:from>
    <cdr:to>
      <cdr:x>0.31613</cdr:x>
      <cdr:y>1</cdr:y>
    </cdr:to>
    <cdr:pic>
      <cdr:nvPicPr>
        <cdr:cNvPr id="17" name="Picture 16">
          <a:extLst xmlns:a="http://schemas.openxmlformats.org/drawingml/2006/main">
            <a:ext uri="{FF2B5EF4-FFF2-40B4-BE49-F238E27FC236}">
              <a16:creationId xmlns:a16="http://schemas.microsoft.com/office/drawing/2014/main" id="{46758683-17ED-4552-A291-3C262BCFB89A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3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3233854" y="4244151"/>
          <a:ext cx="710935" cy="1066403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2171</cdr:x>
      <cdr:y>0.79919</cdr:y>
    </cdr:from>
    <cdr:to>
      <cdr:x>0.37868</cdr:x>
      <cdr:y>1</cdr:y>
    </cdr:to>
    <cdr:pic>
      <cdr:nvPicPr>
        <cdr:cNvPr id="19" name="Picture 18">
          <a:extLst xmlns:a="http://schemas.openxmlformats.org/drawingml/2006/main">
            <a:ext uri="{FF2B5EF4-FFF2-40B4-BE49-F238E27FC236}">
              <a16:creationId xmlns:a16="http://schemas.microsoft.com/office/drawing/2014/main" id="{FB81CD96-5957-44A2-A556-4980395F4E43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4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4014439" y="4244150"/>
          <a:ext cx="710936" cy="1066404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13583</cdr:x>
      <cdr:y>0.79934</cdr:y>
    </cdr:from>
    <cdr:to>
      <cdr:x>0.19276</cdr:x>
      <cdr:y>1</cdr:y>
    </cdr:to>
    <cdr:pic>
      <cdr:nvPicPr>
        <cdr:cNvPr id="21" name="Picture 20">
          <a:extLst xmlns:a="http://schemas.openxmlformats.org/drawingml/2006/main">
            <a:ext uri="{FF2B5EF4-FFF2-40B4-BE49-F238E27FC236}">
              <a16:creationId xmlns:a16="http://schemas.microsoft.com/office/drawing/2014/main" id="{AA59590A-26DD-4788-9291-B5233FF28424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5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1694985" y="4244954"/>
          <a:ext cx="710400" cy="10656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07378</cdr:x>
      <cdr:y>0.79934</cdr:y>
    </cdr:from>
    <cdr:to>
      <cdr:x>0.13071</cdr:x>
      <cdr:y>1</cdr:y>
    </cdr:to>
    <cdr:pic>
      <cdr:nvPicPr>
        <cdr:cNvPr id="23" name="Picture 22">
          <a:extLst xmlns:a="http://schemas.openxmlformats.org/drawingml/2006/main">
            <a:ext uri="{FF2B5EF4-FFF2-40B4-BE49-F238E27FC236}">
              <a16:creationId xmlns:a16="http://schemas.microsoft.com/office/drawing/2014/main" id="{E94A74B9-3AF8-466B-A836-03C3F21A1ACF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6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920621" y="4244954"/>
          <a:ext cx="710400" cy="10656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81589</cdr:x>
      <cdr:y>0.79934</cdr:y>
    </cdr:from>
    <cdr:to>
      <cdr:x>0.87282</cdr:x>
      <cdr:y>1</cdr:y>
    </cdr:to>
    <cdr:pic>
      <cdr:nvPicPr>
        <cdr:cNvPr id="25" name="Picture 24">
          <a:extLst xmlns:a="http://schemas.openxmlformats.org/drawingml/2006/main">
            <a:ext uri="{FF2B5EF4-FFF2-40B4-BE49-F238E27FC236}">
              <a16:creationId xmlns:a16="http://schemas.microsoft.com/office/drawing/2014/main" id="{E85C6552-869A-46D3-8706-1A0E18C4437B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7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10181063" y="4244954"/>
          <a:ext cx="710400" cy="10656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87844</cdr:x>
      <cdr:y>0.79934</cdr:y>
    </cdr:from>
    <cdr:to>
      <cdr:x>0.93538</cdr:x>
      <cdr:y>1</cdr:y>
    </cdr:to>
    <cdr:pic>
      <cdr:nvPicPr>
        <cdr:cNvPr id="27" name="Picture 26">
          <a:extLst xmlns:a="http://schemas.openxmlformats.org/drawingml/2006/main">
            <a:ext uri="{FF2B5EF4-FFF2-40B4-BE49-F238E27FC236}">
              <a16:creationId xmlns:a16="http://schemas.microsoft.com/office/drawing/2014/main" id="{EC1D5C07-021A-4B65-B6C4-0786C7C8EBAF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8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10961640" y="4244954"/>
          <a:ext cx="710400" cy="10656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50669</cdr:x>
      <cdr:y>0.79934</cdr:y>
    </cdr:from>
    <cdr:to>
      <cdr:x>0.56362</cdr:x>
      <cdr:y>1</cdr:y>
    </cdr:to>
    <cdr:pic>
      <cdr:nvPicPr>
        <cdr:cNvPr id="29" name="Picture 28">
          <a:extLst xmlns:a="http://schemas.openxmlformats.org/drawingml/2006/main">
            <a:ext uri="{FF2B5EF4-FFF2-40B4-BE49-F238E27FC236}">
              <a16:creationId xmlns:a16="http://schemas.microsoft.com/office/drawing/2014/main" id="{BE0BCFF2-F5AD-4098-B2BA-529CBA0709D0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9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6322742" y="4244954"/>
          <a:ext cx="710400" cy="106560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44396</cdr:x>
      <cdr:y>0.79934</cdr:y>
    </cdr:from>
    <cdr:to>
      <cdr:x>0.50089</cdr:x>
      <cdr:y>1</cdr:y>
    </cdr:to>
    <cdr:pic>
      <cdr:nvPicPr>
        <cdr:cNvPr id="31" name="Picture 30">
          <a:extLst xmlns:a="http://schemas.openxmlformats.org/drawingml/2006/main">
            <a:ext uri="{FF2B5EF4-FFF2-40B4-BE49-F238E27FC236}">
              <a16:creationId xmlns:a16="http://schemas.microsoft.com/office/drawing/2014/main" id="{8A395999-385F-430C-8F3C-52DEACD5FB8F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0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5539981" y="4244954"/>
          <a:ext cx="710400" cy="1065600"/>
        </a:xfrm>
        <a:prstGeom xmlns:a="http://schemas.openxmlformats.org/drawingml/2006/main" prst="rect">
          <a:avLst/>
        </a:prstGeom>
      </cdr:spPr>
    </cdr:pic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741D12-1BA0-4D16-B253-39E4DA7AD69F}" type="datetimeFigureOut">
              <a:rPr lang="en-US" smtClean="0"/>
              <a:pPr/>
              <a:t>6/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6/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5041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59670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7206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936D52-512B-47DE-BC94-6C88A56CE986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33892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02619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2.emf"/><Relationship Id="rId2" Type="http://schemas.openxmlformats.org/officeDocument/2006/relationships/tags" Target="../tags/tag108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7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2.emf"/><Relationship Id="rId2" Type="http://schemas.openxmlformats.org/officeDocument/2006/relationships/tags" Target="../tags/tag109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8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2.emf"/><Relationship Id="rId2" Type="http://schemas.openxmlformats.org/officeDocument/2006/relationships/tags" Target="../tags/tag110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9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2.emf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0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2.emf"/><Relationship Id="rId2" Type="http://schemas.openxmlformats.org/officeDocument/2006/relationships/tags" Target="../tags/tag112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1.bin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2.emf"/><Relationship Id="rId2" Type="http://schemas.openxmlformats.org/officeDocument/2006/relationships/tags" Target="../tags/tag113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2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2.emf"/><Relationship Id="rId2" Type="http://schemas.openxmlformats.org/officeDocument/2006/relationships/tags" Target="../tags/tag114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3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2.emf"/><Relationship Id="rId2" Type="http://schemas.openxmlformats.org/officeDocument/2006/relationships/tags" Target="../tags/tag115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2.emf"/><Relationship Id="rId2" Type="http://schemas.openxmlformats.org/officeDocument/2006/relationships/tags" Target="../tags/tag116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18.xml"/><Relationship Id="rId7" Type="http://schemas.openxmlformats.org/officeDocument/2006/relationships/oleObject" Target="../embeddings/oleObject117.bin"/><Relationship Id="rId2" Type="http://schemas.openxmlformats.org/officeDocument/2006/relationships/tags" Target="../tags/tag117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6.bin"/><Relationship Id="rId4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9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8.emf"/><Relationship Id="rId2" Type="http://schemas.openxmlformats.org/officeDocument/2006/relationships/tags" Target="../tags/tag121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8.emf"/><Relationship Id="rId2" Type="http://schemas.openxmlformats.org/officeDocument/2006/relationships/tags" Target="../tags/tag122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1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8.emf"/><Relationship Id="rId2" Type="http://schemas.openxmlformats.org/officeDocument/2006/relationships/tags" Target="../tags/tag123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2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8.emf"/><Relationship Id="rId2" Type="http://schemas.openxmlformats.org/officeDocument/2006/relationships/tags" Target="../tags/tag124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8.emf"/><Relationship Id="rId2" Type="http://schemas.openxmlformats.org/officeDocument/2006/relationships/tags" Target="../tags/tag125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8.emf"/><Relationship Id="rId2" Type="http://schemas.openxmlformats.org/officeDocument/2006/relationships/tags" Target="../tags/tag126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5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8.emf"/><Relationship Id="rId2" Type="http://schemas.openxmlformats.org/officeDocument/2006/relationships/tags" Target="../tags/tag127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6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8.emf"/><Relationship Id="rId2" Type="http://schemas.openxmlformats.org/officeDocument/2006/relationships/tags" Target="../tags/tag128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8.emf"/><Relationship Id="rId2" Type="http://schemas.openxmlformats.org/officeDocument/2006/relationships/tags" Target="../tags/tag129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.emf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.emf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.emf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.emf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.emf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.emf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.emf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.emf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.emf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2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2926" y="5799217"/>
            <a:ext cx="12305338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41349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2900" y="5799575"/>
            <a:ext cx="12305338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368118" y="5041349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1"/>
            <a:ext cx="10555362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328774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4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5" y="1404921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143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1"/>
            <a:ext cx="10555362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20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3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106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3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068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4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5" y="1404921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67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5" y="1404921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705830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6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rgbClr val="EA576C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5" y="1404921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291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3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113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1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5" y="1395415"/>
            <a:ext cx="10555363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00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2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197361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5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055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5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3612272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2" name="think-cell Slide" r:id="rId5" imgW="38100" imgH="38100" progId="">
                  <p:embed/>
                </p:oleObj>
              </mc:Choice>
              <mc:Fallback>
                <p:oleObj name="think-cell Slide" r:id="rId5" imgW="38100" imgH="38100" progId="">
                  <p:embed/>
                  <p:pic>
                    <p:nvPicPr>
                      <p:cNvPr id="11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89"/>
                        <a:ext cx="2116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/>
        </p:nvCxnSpPr>
        <p:spPr bwMode="gray">
          <a:xfrm>
            <a:off x="1" y="6791325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Object 8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20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3" name="think-cell Slide" r:id="rId7" imgW="38100" imgH="38100" progId="">
                  <p:embed/>
                </p:oleObj>
              </mc:Choice>
              <mc:Fallback>
                <p:oleObj name="think-cell Slide" r:id="rId7" imgW="38100" imgH="38100" progId="">
                  <p:embed/>
                  <p:pic>
                    <p:nvPicPr>
                      <p:cNvPr id="14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89"/>
                        <a:ext cx="2116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/>
          </p:nvPr>
        </p:nvSpPr>
        <p:spPr bwMode="gray">
          <a:xfrm>
            <a:off x="367442" y="806395"/>
            <a:ext cx="12423739" cy="436608"/>
          </a:xfrm>
        </p:spPr>
        <p:txBody>
          <a:bodyPr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9" cy="308472"/>
          </a:xfrm>
          <a:ln>
            <a:noFill/>
          </a:ln>
        </p:spPr>
        <p:txBody>
          <a:bodyPr anchor="b"/>
          <a:lstStyle>
            <a:lvl1pPr algn="r">
              <a:lnSpc>
                <a:spcPts val="842"/>
              </a:lnSpc>
              <a:buNone/>
              <a:defRPr sz="800" b="0" baseline="0">
                <a:ln>
                  <a:noFill/>
                </a:ln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/>
          </p:nvPr>
        </p:nvSpPr>
        <p:spPr bwMode="gray">
          <a:xfrm>
            <a:off x="371672" y="1371820"/>
            <a:ext cx="8259575" cy="214059"/>
          </a:xfrm>
        </p:spPr>
        <p:txBody>
          <a:bodyPr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/>
          </p:nvPr>
        </p:nvSpPr>
        <p:spPr bwMode="gray">
          <a:xfrm>
            <a:off x="371672" y="1576699"/>
            <a:ext cx="8259575" cy="248708"/>
          </a:xfrm>
        </p:spPr>
        <p:txBody>
          <a:bodyPr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59277" y="1905000"/>
            <a:ext cx="8426275" cy="4210169"/>
          </a:xfrm>
        </p:spPr>
        <p:txBody>
          <a:bodyPr/>
          <a:lstStyle>
            <a:lvl1pPr>
              <a:lnSpc>
                <a:spcPts val="1999"/>
              </a:lnSpc>
              <a:defRPr sz="1799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96778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FB5849-9170-45E6-8B17-0C6AB28560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91E5149-8DB0-46AF-B6EC-0DC9E1023F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8B0F6-A883-4665-B699-C1EA9F3E5937}" type="datetimeFigureOut">
              <a:rPr lang="en-GB" smtClean="0"/>
              <a:t>03/06/2019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45E549-9552-498A-AD91-80D96D12A2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E4AFC5-63B7-4DA5-9CB9-9A7FFFFFA9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353F4-4D0A-4965-8C8F-CBECCE7B829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605756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2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165748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7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2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504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3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320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2" cy="430053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11" name="Picture 10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312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17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6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3768823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rgbClr val="EA576C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61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2" cy="430053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9" name="Picture 8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00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3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9" name="Picture 8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510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4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9" name="Picture 8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777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23108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6" y="15849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2545" y="1895312"/>
            <a:ext cx="4148197" cy="4354677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0324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2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3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2" cy="430053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193464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rgbClr val="EA576C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988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2" cy="430053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4458" y="5786517"/>
            <a:ext cx="12305338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5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368118" y="5041349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3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20262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6395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76698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9276" y="1905000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6395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76698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9276" y="1905000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10075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600"/>
            <a:ext cx="13442950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507236" cy="540543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2441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4053" y="80703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31932" y="2512932"/>
            <a:ext cx="8402590" cy="3106574"/>
          </a:xfr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2000"/>
              </a:lnSpc>
              <a:buNone/>
              <a:defRPr sz="1800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1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232074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6594" y="80703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1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1" y="1577333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0166" y="1902928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81931" y="1902928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9688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6353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4278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6778" y="2461174"/>
            <a:ext cx="5238453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5" y="136229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5" y="1567173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8630"/>
            <a:ext cx="5236703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48638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2926" y="5799217"/>
            <a:ext cx="12305338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368118" y="5041349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703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7438" y="1374361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7438" y="1579238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52877" y="1374361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52877" y="1579238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24255" y="1374361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24255" y="1579238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8875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644368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11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3209" y="812745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3209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3209" y="1583048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06946" y="2467962"/>
            <a:ext cx="4169765" cy="102612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09670" y="3548040"/>
            <a:ext cx="4169765" cy="105412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31932" y="2458714"/>
            <a:ext cx="4128151" cy="1035374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46526" y="3559767"/>
            <a:ext cx="4113557" cy="10423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9500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4562" y="2467962"/>
            <a:ext cx="4162147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17287" y="3548040"/>
            <a:ext cx="415942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6366" y="2463159"/>
            <a:ext cx="4163716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11610" y="3555957"/>
            <a:ext cx="414847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5125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1513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1513" y="1583048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4989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3555676"/>
            <a:ext cx="3081872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3557877"/>
            <a:ext cx="3088537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57873"/>
            <a:ext cx="3097100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3550866"/>
            <a:ext cx="3088946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80703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6594" y="1357942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6594" y="1584953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60948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1002399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1152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39832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5022" y="807756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38388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588763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80052" y="3011508"/>
            <a:ext cx="4152135" cy="1029659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9905" y="5207562"/>
            <a:ext cx="4121798" cy="1003948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8700" y="3006084"/>
            <a:ext cx="4161383" cy="1029659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5170" y="5209764"/>
            <a:ext cx="4164912" cy="1003948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1077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29" y="3555676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57876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48347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4" y="3550865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8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8" y="1586223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3558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005158"/>
            <a:ext cx="415806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220262"/>
            <a:ext cx="4155337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001004"/>
            <a:ext cx="415806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222464"/>
            <a:ext cx="4163218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322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4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4" y="1586223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515600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07903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5" y="137245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5" y="1584953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24" name="Object 3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2926" y="5802393"/>
            <a:ext cx="12305338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368118" y="5041349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 hasCustomPrompt="1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imagery 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8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632448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5148264"/>
            <a:ext cx="4670102" cy="1768475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52267" y="5226050"/>
            <a:ext cx="4173879" cy="1460500"/>
          </a:xfrm>
          <a:ln w="6350">
            <a:noFill/>
            <a:prstDash val="lgDash"/>
          </a:ln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-3328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43364"/>
            <a:ext cx="4670102" cy="2760025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55657" y="4102418"/>
            <a:ext cx="4170490" cy="2467292"/>
          </a:xfrm>
          <a:ln w="6350">
            <a:noFill/>
            <a:prstDash val="lgDash"/>
          </a:ln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-3328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3328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81060" y="1395414"/>
            <a:ext cx="12695650" cy="5407025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3328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54208" y="6338248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54208" y="6515700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81060" y="1395414"/>
            <a:ext cx="12695650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2" cy="1654174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81061" y="5218430"/>
            <a:ext cx="4145086" cy="1031558"/>
          </a:xfrm>
          <a:ln w="6350">
            <a:noFill/>
            <a:prstDash val="lgDash"/>
          </a:ln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3328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81060" y="1395414"/>
            <a:ext cx="12695650" cy="539727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2760025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67041" y="4148139"/>
            <a:ext cx="4159104" cy="1547812"/>
          </a:xfrm>
          <a:ln w="6350">
            <a:noFill/>
            <a:prstDash val="lgDash"/>
          </a:ln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3328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2900" y="5799137"/>
            <a:ext cx="12305338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368118" y="5041349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56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6" y="15849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2545" y="1895312"/>
            <a:ext cx="4148197" cy="4354677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736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736" y="6265909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56786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56786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94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11094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81060" y="1704525"/>
            <a:ext cx="1992098" cy="231271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o not rescale image placeholder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4134929"/>
            <a:ext cx="1992098" cy="248390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1" y="4312382"/>
            <a:ext cx="1987378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2531931" y="2806107"/>
            <a:ext cx="1992314" cy="231635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o not rescale image placeholder.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531931" y="5245685"/>
            <a:ext cx="1964145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531931" y="5423137"/>
            <a:ext cx="1964145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4670101" y="1704527"/>
            <a:ext cx="1992314" cy="231270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o not rescale image placeholder.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670102" y="4134929"/>
            <a:ext cx="1989981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670102" y="4312382"/>
            <a:ext cx="1989981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804489" y="2806107"/>
            <a:ext cx="1981061" cy="231635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o not rescale image placeholder.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804489" y="5245685"/>
            <a:ext cx="1981061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804489" y="5423138"/>
            <a:ext cx="1981061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8946441" y="1704525"/>
            <a:ext cx="1992314" cy="231271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o not rescale image placeholder.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946441" y="4133355"/>
            <a:ext cx="1985747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8946441" y="4310808"/>
            <a:ext cx="1985747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3" name="Picture Placeholder 13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11097313" y="2804534"/>
            <a:ext cx="1992314" cy="233534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o not rescale image placeholder.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97313" y="5244110"/>
            <a:ext cx="1979397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11097313" y="5421563"/>
            <a:ext cx="1979397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81059" y="1946276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 Black and white imagery only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4695144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4872593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681696" y="1946276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 Black and white imagery only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4695144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4872593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946441" y="1946276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 Black and white imagery only</a:t>
            </a:r>
            <a:endParaRPr lang="en-GB" dirty="0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4695144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4872593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468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683308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683308" y="1590998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856323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8856323" y="1589424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 Black and white imagery only</a:t>
            </a:r>
            <a:endParaRPr lang="en-GB" dirty="0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 Black and white imagery only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 Black and white imagery only</a:t>
            </a:r>
            <a:endParaRPr lang="en-GB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 Black and white imagery only</a:t>
            </a:r>
            <a:endParaRPr lang="en-GB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 Black and white imagery only</a:t>
            </a:r>
            <a:endParaRPr lang="en-GB" dirty="0"/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 Black and white imagery only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 Brand Full Image and 8 Logo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 anchor="t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2531933" y="6917309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3601441" y="6917309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0950" y="6917309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5740458" y="6917309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cxnSp>
        <p:nvCxnSpPr>
          <p:cNvPr id="29" name="Straight Connector 28"/>
          <p:cNvCxnSpPr/>
          <p:nvPr userDrawn="1"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 Brand 8 Images and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91720" y="1943414"/>
            <a:ext cx="3056875" cy="1550674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2531932" y="6918217"/>
            <a:ext cx="916662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3609487" y="6918217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8988" y="6918217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5721679" y="6918217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5"/>
          </p:nvPr>
        </p:nvSpPr>
        <p:spPr bwMode="gray">
          <a:xfrm>
            <a:off x="3601674" y="1943414"/>
            <a:ext cx="3058082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6"/>
          </p:nvPr>
        </p:nvSpPr>
        <p:spPr bwMode="gray">
          <a:xfrm>
            <a:off x="6812835" y="1943414"/>
            <a:ext cx="3058082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0023995" y="1943414"/>
            <a:ext cx="3058082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389780" y="3553064"/>
            <a:ext cx="3058082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9"/>
          </p:nvPr>
        </p:nvSpPr>
        <p:spPr bwMode="gray">
          <a:xfrm>
            <a:off x="3601185" y="3553064"/>
            <a:ext cx="3058082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30"/>
          </p:nvPr>
        </p:nvSpPr>
        <p:spPr bwMode="gray">
          <a:xfrm>
            <a:off x="6812591" y="3553064"/>
            <a:ext cx="3058082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31"/>
          </p:nvPr>
        </p:nvSpPr>
        <p:spPr bwMode="gray">
          <a:xfrm>
            <a:off x="10023995" y="3553064"/>
            <a:ext cx="3058082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:3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1" y="1"/>
            <a:ext cx="13442950" cy="75612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2531932" y="1395413"/>
            <a:ext cx="8400256" cy="48545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6:9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" y="1"/>
            <a:ext cx="13442950" cy="6792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-1" y="457775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2900" y="5799137"/>
            <a:ext cx="12305338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368118" y="5041349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1"/>
            <a:ext cx="13442950" cy="7561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Media Placeholder 46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-1" y="852140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518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376755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7" name="Media Placeholder 46"/>
          <p:cNvSpPr>
            <a:spLocks noGrp="1"/>
          </p:cNvSpPr>
          <p:nvPr>
            <p:ph type="media" sz="quarter" idx="16" hasCustomPrompt="1"/>
          </p:nvPr>
        </p:nvSpPr>
        <p:spPr bwMode="gray">
          <a:xfrm>
            <a:off x="4665329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7" hasCustomPrompt="1"/>
          </p:nvPr>
        </p:nvSpPr>
        <p:spPr bwMode="gray">
          <a:xfrm>
            <a:off x="8953903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1" name="Media Placeholder 46"/>
          <p:cNvSpPr>
            <a:spLocks noGrp="1"/>
          </p:cNvSpPr>
          <p:nvPr>
            <p:ph type="media" sz="quarter" idx="18" hasCustomPrompt="1"/>
          </p:nvPr>
        </p:nvSpPr>
        <p:spPr bwMode="gray">
          <a:xfrm>
            <a:off x="376755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3" name="Media Placeholder 46"/>
          <p:cNvSpPr>
            <a:spLocks noGrp="1"/>
          </p:cNvSpPr>
          <p:nvPr>
            <p:ph type="media" sz="quarter" idx="19" hasCustomPrompt="1"/>
          </p:nvPr>
        </p:nvSpPr>
        <p:spPr bwMode="gray">
          <a:xfrm>
            <a:off x="4665329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4" name="Media Placeholder 46"/>
          <p:cNvSpPr>
            <a:spLocks noGrp="1"/>
          </p:cNvSpPr>
          <p:nvPr>
            <p:ph type="media" sz="quarter" idx="20" hasCustomPrompt="1"/>
          </p:nvPr>
        </p:nvSpPr>
        <p:spPr bwMode="gray">
          <a:xfrm>
            <a:off x="8953903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642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381060" y="1395414"/>
            <a:ext cx="12695650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cxnSp>
        <p:nvCxnSpPr>
          <p:cNvPr id="16" name="Straight Connector 15"/>
          <p:cNvCxnSpPr>
            <a:stCxn id="15" idx="1"/>
            <a:endCxn id="15" idx="3"/>
          </p:cNvCxnSpPr>
          <p:nvPr userDrawn="1"/>
        </p:nvCxnSpPr>
        <p:spPr bwMode="gray">
          <a:xfrm>
            <a:off x="1" y="6802438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466553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251706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3591181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303941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411353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303941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411353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87608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3564494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2490140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1318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38614" y="344821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9995613" y="4665535"/>
            <a:ext cx="3081097" cy="1003948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9995613" y="2488035"/>
            <a:ext cx="3081097" cy="100605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9995613" y="3576667"/>
            <a:ext cx="3081097" cy="10254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81060" y="2490562"/>
            <a:ext cx="3048480" cy="989013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 baseline="0"/>
            </a:lvl3pPr>
            <a:lvl4pPr algn="r">
              <a:defRPr baseline="0"/>
            </a:lvl4pPr>
            <a:lvl5pPr algn="r"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3763" y="3598863"/>
            <a:ext cx="3025778" cy="988786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3763" y="4687662"/>
            <a:ext cx="3025778" cy="993775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n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506528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8959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8747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42610" y="344893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8776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770166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770166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77016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11076263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1106344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11063443" y="3581656"/>
            <a:ext cx="2013268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65918" y="5103814"/>
            <a:ext cx="1233169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/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6"/>
          </p:nvPr>
        </p:nvSpPr>
        <p:spPr bwMode="gray">
          <a:xfrm>
            <a:off x="1" y="7"/>
            <a:ext cx="13442950" cy="4560250"/>
          </a:xfrm>
          <a:solidFill>
            <a:schemeClr val="accent5"/>
          </a:solidFill>
          <a:ln>
            <a:noFill/>
          </a:ln>
        </p:spPr>
        <p:txBody>
          <a:bodyPr tIns="1440000" anchor="t" anchorCtr="0"/>
          <a:lstStyle>
            <a:lvl1pPr algn="ctr">
              <a:buNone/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00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1"/>
            <a:ext cx="10555362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2463455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4708" y="5799575"/>
            <a:ext cx="12305338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368118" y="5041349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5" y="1404921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705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1"/>
            <a:ext cx="10555362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361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3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6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3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075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5" y="1404921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834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5" y="1404921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4002743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rgbClr val="EA576C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5" y="1404921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951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3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629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5" y="1395415"/>
            <a:ext cx="10555363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296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5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83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3247" y="5799575"/>
            <a:ext cx="12305338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368118" y="5041349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5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1392264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FB5849-9170-45E6-8B17-0C6AB28560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91E5149-8DB0-46AF-B6EC-0DC9E1023F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8B0F6-A883-4665-B699-C1EA9F3E5937}" type="datetimeFigureOut">
              <a:rPr lang="en-GB" smtClean="0"/>
              <a:t>03/06/2019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45E549-9552-498A-AD91-80D96D12A2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E4AFC5-63B7-4DA5-9CB9-9A7FFFFFA9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353F4-4D0A-4965-8C8F-CBECCE7B829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949541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9" t="3595" r="68462" b="84596"/>
          <a:stretch/>
        </p:blipFill>
        <p:spPr>
          <a:xfrm>
            <a:off x="0" y="195941"/>
            <a:ext cx="3545263" cy="80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274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9" t="6436" r="69250" b="88379"/>
          <a:stretch/>
        </p:blipFill>
        <p:spPr>
          <a:xfrm>
            <a:off x="0" y="390524"/>
            <a:ext cx="3449240" cy="355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411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600"/>
            <a:ext cx="13442950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507236" cy="540543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244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4053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31932" y="2512932"/>
            <a:ext cx="8402590" cy="3106574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2000"/>
              </a:lnSpc>
              <a:buNone/>
              <a:defRPr sz="1800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1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527246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6594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1" y="137245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1" y="157733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0166" y="1902928"/>
            <a:ext cx="5235067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81931" y="1902928"/>
            <a:ext cx="5232045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62250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95197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312842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6778" y="2461174"/>
            <a:ext cx="5238453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5" y="136229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5" y="156717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8630"/>
            <a:ext cx="5236703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665641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7438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7438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52877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52877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24255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24255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8875" y="2458635"/>
            <a:ext cx="4133323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644368" y="2459740"/>
            <a:ext cx="4124127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461389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4708" y="5802738"/>
            <a:ext cx="12305338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368118" y="5041349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3209" y="81274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3209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3209" y="1583048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06946" y="2467962"/>
            <a:ext cx="4169765" cy="102612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09670" y="3548040"/>
            <a:ext cx="4169765" cy="1054123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31932" y="2458714"/>
            <a:ext cx="4128151" cy="1035374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46526" y="3559767"/>
            <a:ext cx="4113557" cy="104239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18475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4562" y="2467962"/>
            <a:ext cx="416214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17287" y="3548040"/>
            <a:ext cx="415942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6366" y="2463159"/>
            <a:ext cx="4163716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11610" y="3555957"/>
            <a:ext cx="414847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512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1513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1513" y="1583048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24710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3555676"/>
            <a:ext cx="308187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3557877"/>
            <a:ext cx="308853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57873"/>
            <a:ext cx="3097100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3550866"/>
            <a:ext cx="3088946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6594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6594" y="158495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60948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1002399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165072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39832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5022" y="807756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38388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58876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80052" y="3011508"/>
            <a:ext cx="4152135" cy="1029659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9905" y="5207562"/>
            <a:ext cx="412179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8700" y="3006084"/>
            <a:ext cx="4161383" cy="1029659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5170" y="5209764"/>
            <a:ext cx="4164912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047450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29" y="3555676"/>
            <a:ext cx="3081873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57876"/>
            <a:ext cx="3088538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48347"/>
            <a:ext cx="3097101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4" y="3550865"/>
            <a:ext cx="3088948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8" y="1371821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8" y="158622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448957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005158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220262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001004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222464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4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4" y="158622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515600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83939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5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5" y="158495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006996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492569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24" name="Object 3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488374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 hasCustomPrompt="1"/>
          </p:nvPr>
        </p:nvSpPr>
        <p:spPr>
          <a:xfrm>
            <a:off x="4670102" y="1936750"/>
            <a:ext cx="4115448" cy="431323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 – delete grey shap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667853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oleObject" Target="../embeddings/oleObject75.bin"/><Relationship Id="rId2" Type="http://schemas.openxmlformats.org/officeDocument/2006/relationships/slideLayout" Target="../slideLayouts/slideLayout70.xml"/><Relationship Id="rId16" Type="http://schemas.openxmlformats.org/officeDocument/2006/relationships/tags" Target="../tags/tag76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vmlDrawing" Target="../drawings/vmlDrawing75.vml"/><Relationship Id="rId10" Type="http://schemas.openxmlformats.org/officeDocument/2006/relationships/slideLayout" Target="../slideLayouts/slideLayout78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18" Type="http://schemas.openxmlformats.org/officeDocument/2006/relationships/slideLayout" Target="../slideLayouts/slideLayout99.xml"/><Relationship Id="rId3" Type="http://schemas.openxmlformats.org/officeDocument/2006/relationships/slideLayout" Target="../slideLayouts/slideLayout84.xml"/><Relationship Id="rId21" Type="http://schemas.openxmlformats.org/officeDocument/2006/relationships/tags" Target="../tags/tag87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slideLayout" Target="../slideLayouts/slideLayout98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83.xml"/><Relationship Id="rId16" Type="http://schemas.openxmlformats.org/officeDocument/2006/relationships/slideLayout" Target="../slideLayouts/slideLayout97.xml"/><Relationship Id="rId20" Type="http://schemas.openxmlformats.org/officeDocument/2006/relationships/vmlDrawing" Target="../drawings/vmlDrawing86.v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91.xml"/><Relationship Id="rId19" Type="http://schemas.openxmlformats.org/officeDocument/2006/relationships/theme" Target="../theme/theme1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Relationship Id="rId22" Type="http://schemas.openxmlformats.org/officeDocument/2006/relationships/oleObject" Target="../embeddings/oleObject86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slideLayout" Target="../slideLayouts/slideLayout112.xml"/><Relationship Id="rId18" Type="http://schemas.openxmlformats.org/officeDocument/2006/relationships/oleObject" Target="../embeddings/oleObject105.bin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17" Type="http://schemas.openxmlformats.org/officeDocument/2006/relationships/tags" Target="../tags/tag106.xml"/><Relationship Id="rId2" Type="http://schemas.openxmlformats.org/officeDocument/2006/relationships/slideLayout" Target="../slideLayouts/slideLayout101.xml"/><Relationship Id="rId16" Type="http://schemas.openxmlformats.org/officeDocument/2006/relationships/vmlDrawing" Target="../drawings/vmlDrawing105.v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09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slideLayout" Target="../slideLayouts/slideLayout12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5.xml"/><Relationship Id="rId17" Type="http://schemas.openxmlformats.org/officeDocument/2006/relationships/oleObject" Target="../embeddings/oleObject118.bin"/><Relationship Id="rId2" Type="http://schemas.openxmlformats.org/officeDocument/2006/relationships/slideLayout" Target="../slideLayouts/slideLayout115.xml"/><Relationship Id="rId16" Type="http://schemas.openxmlformats.org/officeDocument/2006/relationships/tags" Target="../tags/tag119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5" Type="http://schemas.openxmlformats.org/officeDocument/2006/relationships/vmlDrawing" Target="../drawings/vmlDrawing117.vml"/><Relationship Id="rId10" Type="http://schemas.openxmlformats.org/officeDocument/2006/relationships/slideLayout" Target="../slideLayouts/slideLayout123.xml"/><Relationship Id="rId19" Type="http://schemas.openxmlformats.org/officeDocument/2006/relationships/image" Target="../media/image8.emf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theme" Target="../theme/theme1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heme" Target="../theme/theme2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vmlDrawing" Target="../drawings/vmlDrawing1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vmlDrawing" Target="../drawings/vmlDrawing23.v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oleObject" Target="../embeddings/oleObject23.bin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tags" Target="../tags/tag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oleObject" Target="../embeddings/oleObject43.bin"/><Relationship Id="rId2" Type="http://schemas.openxmlformats.org/officeDocument/2006/relationships/slideLayout" Target="../slideLayouts/slideLayout43.xml"/><Relationship Id="rId16" Type="http://schemas.openxmlformats.org/officeDocument/2006/relationships/tags" Target="../tags/tag44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vmlDrawing" Target="../drawings/vmlDrawing43.vml"/><Relationship Id="rId10" Type="http://schemas.openxmlformats.org/officeDocument/2006/relationships/slideLayout" Target="../slideLayouts/slideLayout51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oleObject" Target="../embeddings/oleObject57.bin"/><Relationship Id="rId5" Type="http://schemas.openxmlformats.org/officeDocument/2006/relationships/tags" Target="../tags/tag58.xml"/><Relationship Id="rId4" Type="http://schemas.openxmlformats.org/officeDocument/2006/relationships/vmlDrawing" Target="../drawings/vmlDrawing57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0.vml"/><Relationship Id="rId3" Type="http://schemas.openxmlformats.org/officeDocument/2006/relationships/slideLayout" Target="../slideLayouts/slideLayout59.xml"/><Relationship Id="rId7" Type="http://schemas.openxmlformats.org/officeDocument/2006/relationships/theme" Target="../theme/theme6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1.xml"/><Relationship Id="rId10" Type="http://schemas.openxmlformats.org/officeDocument/2006/relationships/oleObject" Target="../embeddings/oleObject60.bin"/><Relationship Id="rId4" Type="http://schemas.openxmlformats.org/officeDocument/2006/relationships/slideLayout" Target="../slideLayouts/slideLayout60.xml"/><Relationship Id="rId9" Type="http://schemas.openxmlformats.org/officeDocument/2006/relationships/tags" Target="../tags/tag6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slideLayout" Target="../slideLayouts/slideLayout65.xml"/><Relationship Id="rId7" Type="http://schemas.openxmlformats.org/officeDocument/2006/relationships/vmlDrawing" Target="../drawings/vmlDrawing66.v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theme" Target="../theme/theme7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6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66.xml"/><Relationship Id="rId9" Type="http://schemas.openxmlformats.org/officeDocument/2006/relationships/oleObject" Target="../embeddings/oleObject66.bin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2.vml"/><Relationship Id="rId7" Type="http://schemas.openxmlformats.org/officeDocument/2006/relationships/image" Target="../media/image2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tags" Target="../tags/tag73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vmlDrawing" Target="../drawings/vmlDrawing74.vml"/><Relationship Id="rId1" Type="http://schemas.openxmlformats.org/officeDocument/2006/relationships/theme" Target="../theme/theme9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14" imgW="6350000" imgH="6350000" progId="">
                  <p:embed/>
                </p:oleObj>
              </mc:Choice>
              <mc:Fallback>
                <p:oleObj name="think-cell Slide" r:id="rId1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Straight Connector 70"/>
          <p:cNvCxnSpPr/>
          <p:nvPr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742" r:id="rId5"/>
    <p:sldLayoutId id="2147483684" r:id="rId6"/>
    <p:sldLayoutId id="2147483685" r:id="rId7"/>
    <p:sldLayoutId id="2147483686" r:id="rId8"/>
    <p:sldLayoutId id="2147483687" r:id="rId9"/>
    <p:sldLayoutId id="2147483688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2153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4" name="think-cell Slide" r:id="rId17" imgW="6350000" imgH="6350000" progId="">
                  <p:embed/>
                </p:oleObj>
              </mc:Choice>
              <mc:Fallback>
                <p:oleObj name="think-cell Slide" r:id="rId17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3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9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1" y="6792022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7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020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  <p:sldLayoutId id="2147483929" r:id="rId5"/>
    <p:sldLayoutId id="2147483930" r:id="rId6"/>
    <p:sldLayoutId id="2147483931" r:id="rId7"/>
    <p:sldLayoutId id="2147483932" r:id="rId8"/>
    <p:sldLayoutId id="2147483933" r:id="rId9"/>
    <p:sldLayoutId id="2147483934" r:id="rId10"/>
    <p:sldLayoutId id="2147483935" r:id="rId11"/>
    <p:sldLayoutId id="2147483936" r:id="rId12"/>
    <p:sldLayoutId id="2147483938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07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07" rtl="0" eaLnBrk="1" latinLnBrk="0" hangingPunct="1">
        <a:lnSpc>
          <a:spcPts val="1899"/>
        </a:lnSpc>
        <a:spcBef>
          <a:spcPts val="0"/>
        </a:spcBef>
        <a:buClr>
          <a:srgbClr val="FFFFFF"/>
        </a:buClr>
        <a:buSzPct val="100000"/>
        <a:buFont typeface="Arial"/>
        <a:buNone/>
        <a:defRPr sz="1799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07" rtl="0" eaLnBrk="1" latinLnBrk="0" hangingPunct="1">
        <a:lnSpc>
          <a:spcPts val="1899"/>
        </a:lnSpc>
        <a:spcBef>
          <a:spcPts val="0"/>
        </a:spcBef>
        <a:buClr>
          <a:srgbClr val="FFFFFF"/>
        </a:buClr>
        <a:buSzPct val="100000"/>
        <a:buFont typeface="Arial"/>
        <a:buNone/>
        <a:defRPr sz="1799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07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07" rtl="0" eaLnBrk="1" latinLnBrk="0" hangingPunct="1">
        <a:lnSpc>
          <a:spcPts val="1599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07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4973" indent="-240452" algn="l" defTabSz="961807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6pPr>
      <a:lvl7pPr marL="3125878" indent="-240452" algn="l" defTabSz="961807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7pPr>
      <a:lvl8pPr marL="3606783" indent="-240452" algn="l" defTabSz="961807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8pPr>
      <a:lvl9pPr marL="4087687" indent="-240452" algn="l" defTabSz="961807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1pPr>
      <a:lvl2pPr marL="480905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2pPr>
      <a:lvl3pPr marL="961807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3pPr>
      <a:lvl4pPr marL="1442714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4pPr>
      <a:lvl5pPr marL="1923618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5pPr>
      <a:lvl6pPr marL="2404522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6pPr>
      <a:lvl7pPr marL="2885426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7pPr>
      <a:lvl8pPr marL="3366331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8pPr>
      <a:lvl9pPr marL="3847233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8" name="think-cell Slide" r:id="rId22" imgW="6350000" imgH="6350000" progId="">
                  <p:embed/>
                </p:oleObj>
              </mc:Choice>
              <mc:Fallback>
                <p:oleObj name="think-cell Slide" r:id="rId22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1"/>
            <a:ext cx="13442950" cy="75612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1" y="6647385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16" y="6854435"/>
            <a:ext cx="1202416" cy="41846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9312" y="6957529"/>
            <a:ext cx="1235710" cy="195580"/>
          </a:xfrm>
          <a:prstGeom prst="rect">
            <a:avLst/>
          </a:prstGeom>
        </p:spPr>
      </p:pic>
      <p:cxnSp>
        <p:nvCxnSpPr>
          <p:cNvPr id="14" name="Straight Connector 13"/>
          <p:cNvCxnSpPr/>
          <p:nvPr userDrawn="1"/>
        </p:nvCxnSpPr>
        <p:spPr>
          <a:xfrm>
            <a:off x="1790300" y="6776186"/>
            <a:ext cx="0" cy="577516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7394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  <p:sldLayoutId id="2147483957" r:id="rId7"/>
    <p:sldLayoutId id="2147483958" r:id="rId8"/>
    <p:sldLayoutId id="2147483959" r:id="rId9"/>
    <p:sldLayoutId id="2147483960" r:id="rId10"/>
    <p:sldLayoutId id="2147483961" r:id="rId11"/>
    <p:sldLayoutId id="2147483962" r:id="rId12"/>
    <p:sldLayoutId id="2147483963" r:id="rId13"/>
    <p:sldLayoutId id="2147483964" r:id="rId14"/>
    <p:sldLayoutId id="2147483965" r:id="rId15"/>
    <p:sldLayoutId id="2147483966" r:id="rId16"/>
    <p:sldLayoutId id="2147483967" r:id="rId17"/>
    <p:sldLayoutId id="2147483968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FFFFFF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2153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7" name="think-cell Slide" r:id="rId18" imgW="6350000" imgH="6350000" progId="">
                  <p:embed/>
                </p:oleObj>
              </mc:Choice>
              <mc:Fallback>
                <p:oleObj name="think-cell Slide" r:id="rId18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3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9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1" y="6792022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7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722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  <p:sldLayoutId id="2147483993" r:id="rId9"/>
    <p:sldLayoutId id="2147483994" r:id="rId10"/>
    <p:sldLayoutId id="2147483995" r:id="rId11"/>
    <p:sldLayoutId id="2147483996" r:id="rId12"/>
    <p:sldLayoutId id="2147483997" r:id="rId13"/>
    <p:sldLayoutId id="2147483998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07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07" rtl="0" eaLnBrk="1" latinLnBrk="0" hangingPunct="1">
        <a:lnSpc>
          <a:spcPts val="1899"/>
        </a:lnSpc>
        <a:spcBef>
          <a:spcPts val="0"/>
        </a:spcBef>
        <a:buClr>
          <a:srgbClr val="FFFFFF"/>
        </a:buClr>
        <a:buSzPct val="100000"/>
        <a:buFont typeface="Arial"/>
        <a:buNone/>
        <a:defRPr sz="1799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07" rtl="0" eaLnBrk="1" latinLnBrk="0" hangingPunct="1">
        <a:lnSpc>
          <a:spcPts val="1899"/>
        </a:lnSpc>
        <a:spcBef>
          <a:spcPts val="0"/>
        </a:spcBef>
        <a:buClr>
          <a:srgbClr val="FFFFFF"/>
        </a:buClr>
        <a:buSzPct val="100000"/>
        <a:buFont typeface="Arial"/>
        <a:buNone/>
        <a:defRPr sz="1799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07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07" rtl="0" eaLnBrk="1" latinLnBrk="0" hangingPunct="1">
        <a:lnSpc>
          <a:spcPts val="1599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07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4973" indent="-240452" algn="l" defTabSz="961807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6pPr>
      <a:lvl7pPr marL="3125878" indent="-240452" algn="l" defTabSz="961807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7pPr>
      <a:lvl8pPr marL="3606783" indent="-240452" algn="l" defTabSz="961807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8pPr>
      <a:lvl9pPr marL="4087687" indent="-240452" algn="l" defTabSz="961807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1pPr>
      <a:lvl2pPr marL="480905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2pPr>
      <a:lvl3pPr marL="961807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3pPr>
      <a:lvl4pPr marL="1442714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4pPr>
      <a:lvl5pPr marL="1923618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5pPr>
      <a:lvl6pPr marL="2404522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6pPr>
      <a:lvl7pPr marL="2885426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7pPr>
      <a:lvl8pPr marL="3366331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8pPr>
      <a:lvl9pPr marL="3847233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87" name="think-cell Slide" r:id="rId17" imgW="6350000" imgH="6350000" progId="">
                  <p:embed/>
                </p:oleObj>
              </mc:Choice>
              <mc:Fallback>
                <p:oleObj name="think-cell Slide" r:id="rId17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7" name="Picture 6" descr="DCM LEFT LOGO ALL-05.eps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907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1" r:id="rId1"/>
    <p:sldLayoutId id="2147484002" r:id="rId2"/>
    <p:sldLayoutId id="2147484003" r:id="rId3"/>
    <p:sldLayoutId id="2147484004" r:id="rId4"/>
    <p:sldLayoutId id="2147484005" r:id="rId5"/>
    <p:sldLayoutId id="2147484006" r:id="rId6"/>
    <p:sldLayoutId id="2147484007" r:id="rId7"/>
    <p:sldLayoutId id="2147484008" r:id="rId8"/>
    <p:sldLayoutId id="2147484009" r:id="rId9"/>
    <p:sldLayoutId id="2147484010" r:id="rId10"/>
    <p:sldLayoutId id="2147484011" r:id="rId11"/>
    <p:sldLayoutId id="2147484012" r:id="rId12"/>
    <p:sldLayoutId id="2147484013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6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919" r:id="rId7"/>
    <p:sldLayoutId id="2147483743" r:id="rId8"/>
    <p:sldLayoutId id="2147483694" r:id="rId9"/>
    <p:sldLayoutId id="2147483695" r:id="rId10"/>
    <p:sldLayoutId id="2147483697" r:id="rId11"/>
    <p:sldLayoutId id="2147483920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2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0" name="think-cell Slide" r:id="rId23" imgW="6350000" imgH="6350000" progId="">
                  <p:embed/>
                </p:oleObj>
              </mc:Choice>
              <mc:Fallback>
                <p:oleObj name="think-cell Slide" r:id="rId2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40" r:id="rId2"/>
    <p:sldLayoutId id="2147483698" r:id="rId3"/>
    <p:sldLayoutId id="2147483699" r:id="rId4"/>
    <p:sldLayoutId id="2147483700" r:id="rId5"/>
    <p:sldLayoutId id="2147483739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999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6" name="think-cell Slide" r:id="rId17" imgW="6350000" imgH="6350000" progId="">
                  <p:embed/>
                </p:oleObj>
              </mc:Choice>
              <mc:Fallback>
                <p:oleObj name="think-cell Slide" r:id="rId17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2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4" name="think-cell Slide" r:id="rId10" imgW="6350000" imgH="6350000" progId="">
                  <p:embed/>
                </p:oleObj>
              </mc:Choice>
              <mc:Fallback>
                <p:oleObj name="think-cell Slide" r:id="rId10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923" r:id="rId4"/>
    <p:sldLayoutId id="2147483922" r:id="rId5"/>
    <p:sldLayoutId id="2147483731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8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8" r:id="rId2"/>
    <p:sldLayoutId id="2147483737" r:id="rId3"/>
    <p:sldLayoutId id="2147483733" r:id="rId4"/>
    <p:sldLayoutId id="214748373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2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2.xml"/><Relationship Id="rId4" Type="http://schemas.openxmlformats.org/officeDocument/2006/relationships/hyperlink" Target="https://www.youtube.com/watch?v=DYYtuKyMtY8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6.xml"/><Relationship Id="rId7" Type="http://schemas.openxmlformats.org/officeDocument/2006/relationships/image" Target="../media/image1.emf"/><Relationship Id="rId2" Type="http://schemas.openxmlformats.org/officeDocument/2006/relationships/tags" Target="../tags/tag131.xml"/><Relationship Id="rId1" Type="http://schemas.openxmlformats.org/officeDocument/2006/relationships/vmlDrawing" Target="../drawings/vmlDrawing129.vml"/><Relationship Id="rId6" Type="http://schemas.openxmlformats.org/officeDocument/2006/relationships/oleObject" Target="../embeddings/oleObject130.bin"/><Relationship Id="rId5" Type="http://schemas.openxmlformats.org/officeDocument/2006/relationships/image" Target="../media/image21.jpeg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1074" name="Picture 2" descr="https://m.media-amazon.com/images/M/MV5BMjE1MzE5MjczMl5BMl5BanBnXkFtZTgwOTgwMTgxNzM@._V1_SY1000_CR0,0,674,1000_AL_.jpg">
            <a:extLst>
              <a:ext uri="{FF2B5EF4-FFF2-40B4-BE49-F238E27FC236}">
                <a16:creationId xmlns:a16="http://schemas.microsoft.com/office/drawing/2014/main" id="{29BF0404-4185-411C-8AF1-41E682F39BF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6" t="5590" b="26817"/>
          <a:stretch/>
        </p:blipFill>
        <p:spPr bwMode="auto">
          <a:xfrm>
            <a:off x="7983518" y="1214260"/>
            <a:ext cx="4751677" cy="4898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084FD70-C36F-4E43-9292-30BECD0539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456" y="303001"/>
            <a:ext cx="12413343" cy="409568"/>
          </a:xfrm>
        </p:spPr>
        <p:txBody>
          <a:bodyPr/>
          <a:lstStyle/>
          <a:p>
            <a:r>
              <a:rPr lang="en-GB" dirty="0"/>
              <a:t>Spider-man: far from hom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74A9DA-E566-4227-8ECF-43A47AE9A4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1456" y="777652"/>
            <a:ext cx="12423739" cy="436608"/>
          </a:xfrm>
        </p:spPr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The next Marvel blockbuster hitting cinemas after </a:t>
            </a:r>
            <a:r>
              <a:rPr lang="en-GB" i="1" dirty="0">
                <a:solidFill>
                  <a:schemeClr val="accent3"/>
                </a:solidFill>
              </a:rPr>
              <a:t>Avengers: Endgame</a:t>
            </a:r>
            <a:endParaRPr lang="en-US" i="1" dirty="0">
              <a:solidFill>
                <a:schemeClr val="accent3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CB0B03-3469-4AAA-BD80-11F058FE49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21270" y="7000800"/>
            <a:ext cx="5977219" cy="308472"/>
          </a:xfrm>
        </p:spPr>
        <p:txBody>
          <a:bodyPr/>
          <a:lstStyle/>
          <a:p>
            <a:r>
              <a:rPr lang="en-GB" sz="1600" b="1" dirty="0">
                <a:solidFill>
                  <a:schemeClr val="bg1">
                    <a:lumMod val="95000"/>
                    <a:lumOff val="5000"/>
                  </a:schemeClr>
                </a:solidFill>
                <a:latin typeface="Arial" charset="0"/>
                <a:ea typeface="Arial" charset="0"/>
                <a:cs typeface="Arial" charset="0"/>
              </a:rPr>
              <a:t>RELEASE DATE</a:t>
            </a:r>
            <a:r>
              <a:rPr lang="en-GB" sz="1600" dirty="0">
                <a:solidFill>
                  <a:schemeClr val="bg1">
                    <a:lumMod val="95000"/>
                    <a:lumOff val="5000"/>
                  </a:schemeClr>
                </a:solidFill>
                <a:latin typeface="Arial" charset="0"/>
                <a:ea typeface="Arial" charset="0"/>
                <a:cs typeface="Arial" charset="0"/>
              </a:rPr>
              <a:t>: 2 July 2019</a:t>
            </a:r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FB529435-14F0-46A1-ABB9-8F7CA28B4614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11456" y="1214260"/>
            <a:ext cx="7095818" cy="4895003"/>
          </a:xfrm>
        </p:spPr>
        <p:txBody>
          <a:bodyPr/>
          <a:lstStyle/>
          <a:p>
            <a:pPr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vengers: Endgame has smashed records around the world, but while it spells the end for a number of Marvel characters, for some, it’s only just getting started. Next up is </a:t>
            </a:r>
            <a:r>
              <a:rPr lang="en-GB" altLang="en-US" sz="14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pider-Man: Far From Home</a:t>
            </a: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After the unprecedented success of 2017’s </a:t>
            </a:r>
            <a:r>
              <a:rPr lang="en-GB" altLang="en-US" sz="14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pider-Man: Homecoming, </a:t>
            </a: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eter Parker returns with a new adventure. When trying to relax with his friends on a summer trip to Europe, Peter finds himself having to don his suit and save the world once again.</a:t>
            </a:r>
          </a:p>
          <a:p>
            <a:pPr>
              <a:lnSpc>
                <a:spcPts val="1800"/>
              </a:lnSpc>
            </a:pPr>
            <a:endParaRPr lang="en-GB" altLang="en-US" sz="14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r>
              <a:rPr lang="en-GB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ST</a:t>
            </a:r>
          </a:p>
          <a:p>
            <a:pPr>
              <a:lnSpc>
                <a:spcPts val="1800"/>
              </a:lnSpc>
            </a:pPr>
            <a:r>
              <a:rPr lang="en-GB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m Holland, Jake Gyllenhaal, Zendaya, Jacob </a:t>
            </a:r>
            <a:r>
              <a:rPr lang="en-GB" sz="1400" b="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atalon</a:t>
            </a:r>
            <a:r>
              <a:rPr lang="en-GB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Samuel L. Jackson, Jon Favreau</a:t>
            </a:r>
          </a:p>
          <a:p>
            <a:pPr>
              <a:lnSpc>
                <a:spcPts val="1800"/>
              </a:lnSpc>
            </a:pPr>
            <a:endParaRPr lang="en-GB" sz="1400" dirty="0"/>
          </a:p>
          <a:p>
            <a:pPr>
              <a:lnSpc>
                <a:spcPts val="1800"/>
              </a:lnSpc>
            </a:pPr>
            <a:r>
              <a:rPr lang="en-GB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EY STATS </a:t>
            </a:r>
          </a:p>
          <a:p>
            <a:pPr>
              <a:lnSpc>
                <a:spcPts val="1800"/>
              </a:lnSpc>
            </a:pPr>
            <a:r>
              <a:rPr lang="en-GB" altLang="en-US" sz="14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pider-Man Homecoming </a:t>
            </a: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as the 9</a:t>
            </a:r>
            <a:r>
              <a:rPr lang="en-GB" altLang="en-US" sz="1400" b="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</a:t>
            </a: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most successful film of 2017, grossing £30.4m </a:t>
            </a:r>
          </a:p>
          <a:p>
            <a:pPr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 the UK</a:t>
            </a:r>
            <a:r>
              <a:rPr lang="en-GB" altLang="en-US" sz="1000" b="0" baseline="6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</a:t>
            </a:r>
          </a:p>
          <a:p>
            <a:pPr>
              <a:lnSpc>
                <a:spcPts val="1800"/>
              </a:lnSpc>
            </a:pPr>
            <a:endParaRPr lang="en-GB" altLang="en-US" sz="1400" b="0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6-34 Men are 71% more likely, than the average UK cinemagoer, to list superhero as their favourite genre to watch at the cinema</a:t>
            </a:r>
            <a:r>
              <a:rPr lang="en-GB" altLang="en-US" sz="1000" b="0" baseline="6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</a:t>
            </a:r>
          </a:p>
          <a:p>
            <a:pPr>
              <a:lnSpc>
                <a:spcPts val="1800"/>
              </a:lnSpc>
            </a:pPr>
            <a:endParaRPr lang="en-GB" altLang="en-US" sz="14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r>
              <a:rPr lang="en-GB" alt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ST. INDUSTY ADMISSIONS</a:t>
            </a:r>
          </a:p>
          <a:p>
            <a:pPr>
              <a:lnSpc>
                <a:spcPts val="1800"/>
              </a:lnSpc>
            </a:pPr>
            <a:r>
              <a:rPr lang="en-GB" altLang="en-US" sz="14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3.6m</a:t>
            </a:r>
          </a:p>
          <a:p>
            <a:pPr>
              <a:lnSpc>
                <a:spcPts val="1800"/>
              </a:lnSpc>
            </a:pPr>
            <a:endParaRPr lang="en-GB" altLang="en-US" sz="1400" b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r>
              <a:rPr lang="en-GB" alt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DIVIDUALS IMPACTS / UNDUPLICATED REACH</a:t>
            </a:r>
          </a:p>
          <a:p>
            <a:pPr>
              <a:lnSpc>
                <a:spcPts val="1800"/>
              </a:lnSpc>
            </a:pPr>
            <a:r>
              <a:rPr lang="en-GB" altLang="en-US" sz="14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ll individuals: 3.18m / 5.77%  </a:t>
            </a:r>
          </a:p>
          <a:p>
            <a:pPr>
              <a:lnSpc>
                <a:spcPts val="1800"/>
              </a:lnSpc>
            </a:pPr>
            <a:r>
              <a:rPr lang="en-GB" altLang="en-US" sz="14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634: 1.48m / 9.67% </a:t>
            </a:r>
          </a:p>
          <a:p>
            <a:pPr>
              <a:lnSpc>
                <a:spcPts val="1800"/>
              </a:lnSpc>
            </a:pPr>
            <a:r>
              <a:rPr lang="en-GB" altLang="en-US" sz="14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634 Men: 856,000 / 11.02%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C066898-A313-496F-8387-141549712B6C}"/>
              </a:ext>
            </a:extLst>
          </p:cNvPr>
          <p:cNvGrpSpPr/>
          <p:nvPr/>
        </p:nvGrpSpPr>
        <p:grpSpPr>
          <a:xfrm>
            <a:off x="9794626" y="3099082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E1779A66-46A9-48E6-A9AF-C0FD69BA57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6">
              <a:hlinkClick r:id="rId4"/>
              <a:extLst>
                <a:ext uri="{FF2B5EF4-FFF2-40B4-BE49-F238E27FC236}">
                  <a16:creationId xmlns:a16="http://schemas.microsoft.com/office/drawing/2014/main" id="{2F592A80-A469-4030-99A5-AB2B9FD63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C73D39F9-77A7-4192-A5E9-441E5C63CA46}"/>
              </a:ext>
            </a:extLst>
          </p:cNvPr>
          <p:cNvSpPr/>
          <p:nvPr/>
        </p:nvSpPr>
        <p:spPr>
          <a:xfrm>
            <a:off x="11259323" y="6262644"/>
            <a:ext cx="1558440" cy="1949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61844" rtl="0" eaLnBrk="1" fontAlgn="auto" latinLnBrk="0" hangingPunct="1">
              <a:lnSpc>
                <a:spcPts val="842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IBOE. 2.</a:t>
            </a:r>
            <a:r>
              <a:rPr kumimoji="0" lang="en-GB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en-GB" sz="700" dirty="0">
                <a:solidFill>
                  <a:srgbClr val="000000"/>
                </a:solidFill>
                <a:latin typeface="Arial"/>
              </a:rPr>
              <a:t>TGI Q1 2019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6983908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>
            <a:extLst>
              <a:ext uri="{FF2B5EF4-FFF2-40B4-BE49-F238E27FC236}">
                <a16:creationId xmlns:a16="http://schemas.microsoft.com/office/drawing/2014/main" id="{B3CEA3F1-7147-41E0-A39B-1CEB3D863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33" y="310334"/>
            <a:ext cx="12413343" cy="409568"/>
          </a:xfrm>
        </p:spPr>
        <p:txBody>
          <a:bodyPr/>
          <a:lstStyle/>
          <a:p>
            <a:r>
              <a:rPr lang="en-GB" sz="4000" dirty="0"/>
              <a:t>Spider-man will effectively reach young men</a:t>
            </a:r>
            <a:endParaRPr lang="en-US" sz="4000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19DDE0B6-2881-4AE2-A328-8A120EEAFE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8033" y="836581"/>
            <a:ext cx="12423740" cy="436608"/>
          </a:xfrm>
        </p:spPr>
        <p:txBody>
          <a:bodyPr/>
          <a:lstStyle/>
          <a:p>
            <a:r>
              <a:rPr lang="en-GB" dirty="0"/>
              <a:t>Big impact, low frequency – the majority of cover for advertisers is unique  </a:t>
            </a:r>
            <a:endParaRPr lang="en-US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F692C41E-5206-4292-BAF3-7F3E34BBC7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24555" y="6983770"/>
            <a:ext cx="5977218" cy="308472"/>
          </a:xfrm>
        </p:spPr>
        <p:txBody>
          <a:bodyPr/>
          <a:lstStyle/>
          <a:p>
            <a:r>
              <a:rPr lang="en-GB" b="1" dirty="0"/>
              <a:t>Source: </a:t>
            </a:r>
            <a:r>
              <a:rPr lang="en-GB" dirty="0"/>
              <a:t>CAA C+F Planner 1.2.19 subject to change. Industry figures. </a:t>
            </a:r>
            <a:endParaRPr lang="en-US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75B154D-116D-4201-9943-883C8E8D51E1}"/>
              </a:ext>
            </a:extLst>
          </p:cNvPr>
          <p:cNvSpPr txBox="1"/>
          <p:nvPr/>
        </p:nvSpPr>
        <p:spPr>
          <a:xfrm rot="16200000">
            <a:off x="-1338746" y="3658175"/>
            <a:ext cx="4272742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 Audience TVRs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4559934C-2505-49E8-975C-A4FF20FB43FC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978231" y="1285889"/>
          <a:ext cx="11212945" cy="5140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09570" name="Picture 2" descr="http://mmdb.mymovies.net/source/fid19163/Teaser%20Poster.jpg">
            <a:extLst>
              <a:ext uri="{FF2B5EF4-FFF2-40B4-BE49-F238E27FC236}">
                <a16:creationId xmlns:a16="http://schemas.microsoft.com/office/drawing/2014/main" id="{A6E232C9-782E-4830-A0DA-02B2D1F44E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9588" y="4415850"/>
            <a:ext cx="554037" cy="821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0936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>
            <a:extLst>
              <a:ext uri="{FF2B5EF4-FFF2-40B4-BE49-F238E27FC236}">
                <a16:creationId xmlns:a16="http://schemas.microsoft.com/office/drawing/2014/main" id="{B3CEA3F1-7147-41E0-A39B-1CEB3D863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33" y="310334"/>
            <a:ext cx="12413343" cy="409568"/>
          </a:xfrm>
        </p:spPr>
        <p:txBody>
          <a:bodyPr/>
          <a:lstStyle/>
          <a:p>
            <a:r>
              <a:rPr lang="en-GB" sz="4000" dirty="0"/>
              <a:t>buying 16-34s on tv will be more expensive this summer</a:t>
            </a:r>
            <a:endParaRPr lang="en-US" sz="4000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19DDE0B6-2881-4AE2-A328-8A120EEAFE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8033" y="836581"/>
            <a:ext cx="12423740" cy="436608"/>
          </a:xfrm>
        </p:spPr>
        <p:txBody>
          <a:bodyPr/>
          <a:lstStyle/>
          <a:p>
            <a:pPr lvl="0">
              <a:lnSpc>
                <a:spcPts val="1684"/>
              </a:lnSpc>
            </a:pPr>
            <a:r>
              <a:rPr lang="en-US" dirty="0">
                <a:solidFill>
                  <a:srgbClr val="8A8A8D"/>
                </a:solidFill>
              </a:rPr>
              <a:t>Due to the loss of ratings provided by the 2018 World Cup, 16-34 Ads price on TV </a:t>
            </a:r>
            <a:r>
              <a:rPr lang="en-US">
                <a:solidFill>
                  <a:srgbClr val="8A8A8D"/>
                </a:solidFill>
              </a:rPr>
              <a:t>is predicted </a:t>
            </a:r>
            <a:r>
              <a:rPr lang="en-US" dirty="0">
                <a:solidFill>
                  <a:srgbClr val="8A8A8D"/>
                </a:solidFill>
              </a:rPr>
              <a:t>to increase 47% </a:t>
            </a:r>
            <a:r>
              <a:rPr lang="en-US">
                <a:solidFill>
                  <a:srgbClr val="8A8A8D"/>
                </a:solidFill>
              </a:rPr>
              <a:t>this July</a:t>
            </a:r>
            <a:endParaRPr lang="en-US" dirty="0">
              <a:solidFill>
                <a:srgbClr val="8A8A8D"/>
              </a:solidFill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F692C41E-5206-4292-BAF3-7F3E34BBC7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14158" y="6976052"/>
            <a:ext cx="5977218" cy="308472"/>
          </a:xfrm>
        </p:spPr>
        <p:txBody>
          <a:bodyPr/>
          <a:lstStyle/>
          <a:p>
            <a:r>
              <a:rPr lang="en-GB" b="1" dirty="0"/>
              <a:t>Source: BARB 2019.</a:t>
            </a:r>
            <a:endParaRPr lang="en-US" dirty="0"/>
          </a:p>
        </p:txBody>
      </p:sp>
      <p:pic>
        <p:nvPicPr>
          <p:cNvPr id="109570" name="Picture 2" descr="http://mmdb.mymovies.net/source/fid19163/Teaser%20Poster.jpg">
            <a:extLst>
              <a:ext uri="{FF2B5EF4-FFF2-40B4-BE49-F238E27FC236}">
                <a16:creationId xmlns:a16="http://schemas.microsoft.com/office/drawing/2014/main" id="{A6E232C9-782E-4830-A0DA-02B2D1F44E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0942" y="1639919"/>
            <a:ext cx="554037" cy="821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Object 2">
            <a:extLst>
              <a:ext uri="{FF2B5EF4-FFF2-40B4-BE49-F238E27FC236}">
                <a16:creationId xmlns:a16="http://schemas.microsoft.com/office/drawing/2014/main" id="{0B013EC7-0EF4-4BF5-B6B2-AF193B97FED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00655224"/>
              </p:ext>
            </p:extLst>
          </p:nvPr>
        </p:nvGraphicFramePr>
        <p:xfrm>
          <a:off x="330747" y="1605325"/>
          <a:ext cx="12507913" cy="50704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328275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10182225" y="7151018"/>
            <a:ext cx="3116263" cy="206082"/>
          </a:xfrm>
        </p:spPr>
        <p:txBody>
          <a:bodyPr/>
          <a:lstStyle/>
          <a:p>
            <a:r>
              <a:rPr lang="en-US" dirty="0"/>
              <a:t>Source: DCM Admission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vel sequels see significant box office uplift</a:t>
            </a: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3810231165"/>
              </p:ext>
            </p:extLst>
          </p:nvPr>
        </p:nvGraphicFramePr>
        <p:xfrm>
          <a:off x="482245" y="1121129"/>
          <a:ext cx="12478460" cy="53105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Text Placeholder 15"/>
          <p:cNvSpPr>
            <a:spLocks noGrp="1"/>
          </p:cNvSpPr>
          <p:nvPr>
            <p:ph type="body" sz="quarter" idx="4294967295"/>
          </p:nvPr>
        </p:nvSpPr>
        <p:spPr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1400" dirty="0">
                <a:solidFill>
                  <a:schemeClr val="accent6"/>
                </a:solidFill>
              </a:rPr>
              <a:t>The next film in a series greatly improves on the one befo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47BD666-2BC2-44F9-943E-55530804C6A0}"/>
              </a:ext>
            </a:extLst>
          </p:cNvPr>
          <p:cNvSpPr txBox="1"/>
          <p:nvPr/>
        </p:nvSpPr>
        <p:spPr>
          <a:xfrm>
            <a:off x="1676399" y="3581400"/>
            <a:ext cx="895351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900" b="1" dirty="0">
                <a:solidFill>
                  <a:schemeClr val="bg1"/>
                </a:solidFill>
              </a:rPr>
              <a:t>+50% uplift</a:t>
            </a:r>
            <a:endParaRPr lang="en-US" sz="900" b="1" dirty="0" err="1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085AA2C-2AAD-4702-8ED9-ECB69CC84464}"/>
              </a:ext>
            </a:extLst>
          </p:cNvPr>
          <p:cNvSpPr txBox="1"/>
          <p:nvPr/>
        </p:nvSpPr>
        <p:spPr>
          <a:xfrm>
            <a:off x="4000499" y="3350568"/>
            <a:ext cx="895351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900" b="1" dirty="0">
                <a:solidFill>
                  <a:schemeClr val="bg1"/>
                </a:solidFill>
              </a:rPr>
              <a:t>+80% uplift</a:t>
            </a:r>
            <a:endParaRPr lang="en-US" sz="900" b="1" dirty="0" err="1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26497B-A6BE-443F-AD6E-C5CE2AC9188F}"/>
              </a:ext>
            </a:extLst>
          </p:cNvPr>
          <p:cNvSpPr txBox="1"/>
          <p:nvPr/>
        </p:nvSpPr>
        <p:spPr>
          <a:xfrm>
            <a:off x="6324599" y="3127029"/>
            <a:ext cx="895351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900" b="1" dirty="0">
                <a:solidFill>
                  <a:schemeClr val="bg1"/>
                </a:solidFill>
              </a:rPr>
              <a:t>+30% uplift</a:t>
            </a:r>
            <a:endParaRPr lang="en-US" sz="900" b="1" dirty="0" err="1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0C2923D-3B0C-422A-8270-06B7833E77E4}"/>
              </a:ext>
            </a:extLst>
          </p:cNvPr>
          <p:cNvSpPr txBox="1"/>
          <p:nvPr/>
        </p:nvSpPr>
        <p:spPr>
          <a:xfrm>
            <a:off x="8620125" y="4000500"/>
            <a:ext cx="895351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900" b="1" dirty="0">
                <a:solidFill>
                  <a:schemeClr val="bg1"/>
                </a:solidFill>
              </a:rPr>
              <a:t>+12% uplift</a:t>
            </a:r>
            <a:endParaRPr lang="en-US" sz="900" b="1" dirty="0" err="1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ECDFDD4-766D-4683-905D-858E3952B54B}"/>
              </a:ext>
            </a:extLst>
          </p:cNvPr>
          <p:cNvSpPr txBox="1"/>
          <p:nvPr/>
        </p:nvSpPr>
        <p:spPr>
          <a:xfrm>
            <a:off x="10949780" y="1352550"/>
            <a:ext cx="895351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900" b="1" dirty="0">
                <a:solidFill>
                  <a:schemeClr val="bg1"/>
                </a:solidFill>
              </a:rPr>
              <a:t>+36% uplift</a:t>
            </a:r>
            <a:endParaRPr lang="en-US" sz="900" b="1" dirty="0" err="1">
              <a:solidFill>
                <a:schemeClr val="bg1"/>
              </a:solidFill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BB4D2BF-ACB4-4BA8-B0BF-75DA9FB2D9D6}"/>
              </a:ext>
            </a:extLst>
          </p:cNvPr>
          <p:cNvCxnSpPr/>
          <p:nvPr/>
        </p:nvCxnSpPr>
        <p:spPr>
          <a:xfrm flipV="1">
            <a:off x="1957386" y="3858753"/>
            <a:ext cx="333375" cy="2834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90CC938-489C-4718-A95F-C6DD95A4E817}"/>
              </a:ext>
            </a:extLst>
          </p:cNvPr>
          <p:cNvCxnSpPr/>
          <p:nvPr/>
        </p:nvCxnSpPr>
        <p:spPr>
          <a:xfrm flipV="1">
            <a:off x="4281486" y="3634659"/>
            <a:ext cx="333375" cy="2834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BBC7E77-DB59-4266-BE73-4151AECF20A1}"/>
              </a:ext>
            </a:extLst>
          </p:cNvPr>
          <p:cNvCxnSpPr/>
          <p:nvPr/>
        </p:nvCxnSpPr>
        <p:spPr>
          <a:xfrm flipV="1">
            <a:off x="6605586" y="3413323"/>
            <a:ext cx="333375" cy="2834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05844FD8-9A8C-4935-A092-F373077673D0}"/>
              </a:ext>
            </a:extLst>
          </p:cNvPr>
          <p:cNvCxnSpPr/>
          <p:nvPr/>
        </p:nvCxnSpPr>
        <p:spPr>
          <a:xfrm flipV="1">
            <a:off x="8901112" y="4212282"/>
            <a:ext cx="333375" cy="2834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765BF01D-E6C7-46DE-B13C-C4C32994381B}"/>
              </a:ext>
            </a:extLst>
          </p:cNvPr>
          <p:cNvCxnSpPr/>
          <p:nvPr/>
        </p:nvCxnSpPr>
        <p:spPr>
          <a:xfrm flipV="1">
            <a:off x="11230767" y="1591836"/>
            <a:ext cx="333375" cy="2834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1259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098" name="Picture 2" descr="http://mmdb.mymovies.net/source/fid19163/07191.jpg">
            <a:extLst>
              <a:ext uri="{FF2B5EF4-FFF2-40B4-BE49-F238E27FC236}">
                <a16:creationId xmlns:a16="http://schemas.microsoft.com/office/drawing/2014/main" id="{4D6FF7A2-B4F4-4708-8B84-AB87BF4C09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322"/>
          <a:stretch/>
        </p:blipFill>
        <p:spPr bwMode="auto">
          <a:xfrm>
            <a:off x="0" y="1"/>
            <a:ext cx="13442950" cy="6810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C667E1FA-4D58-44CA-9B9D-7F8F9B1E06D0}"/>
              </a:ext>
            </a:extLst>
          </p:cNvPr>
          <p:cNvSpPr/>
          <p:nvPr/>
        </p:nvSpPr>
        <p:spPr>
          <a:xfrm>
            <a:off x="0" y="-1212"/>
            <a:ext cx="13442950" cy="6811587"/>
          </a:xfrm>
          <a:prstGeom prst="rect">
            <a:avLst/>
          </a:prstGeom>
          <a:solidFill>
            <a:schemeClr val="bg2">
              <a:alpha val="87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75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1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2751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 bwMode="gray">
          <a:xfrm>
            <a:off x="282767" y="733861"/>
            <a:ext cx="13013264" cy="436608"/>
          </a:xfrm>
        </p:spPr>
        <p:txBody>
          <a:bodyPr/>
          <a:lstStyle/>
          <a:p>
            <a:r>
              <a:rPr lang="en-GB" i="1" dirty="0">
                <a:solidFill>
                  <a:srgbClr val="FFFFFF"/>
                </a:solidFill>
              </a:rPr>
              <a:t>Spider-Man: Far From Home </a:t>
            </a:r>
            <a:r>
              <a:rPr lang="en-GB" dirty="0">
                <a:solidFill>
                  <a:srgbClr val="FFFFFF"/>
                </a:solidFill>
              </a:rPr>
              <a:t>is a brilliant opportunity for brands to reach tech and gaming enthusiasts who love to treat themselves and </a:t>
            </a:r>
          </a:p>
          <a:p>
            <a:r>
              <a:rPr lang="en-GB" dirty="0">
                <a:solidFill>
                  <a:srgbClr val="FFFFFF"/>
                </a:solidFill>
              </a:rPr>
              <a:t>buy the latest products first!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4356" y="266018"/>
            <a:ext cx="9308541" cy="409568"/>
          </a:xfrm>
        </p:spPr>
        <p:txBody>
          <a:bodyPr/>
          <a:lstStyle/>
          <a:p>
            <a:r>
              <a:rPr lang="en-US" sz="4000" dirty="0">
                <a:solidFill>
                  <a:srgbClr val="FFFFFF"/>
                </a:solidFill>
              </a:rPr>
              <a:t>Marvel fans are early adopter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573958" y="6958404"/>
            <a:ext cx="3583032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Source: TGI Q2 2019. </a:t>
            </a:r>
          </a:p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Target: People to select Marvel as a film franchise/studio they are a fan of.</a:t>
            </a:r>
          </a:p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Index vs. average UK adult unless stated otherwise. 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82767" y="1366347"/>
            <a:ext cx="12823633" cy="5000169"/>
            <a:chOff x="630622" y="1451312"/>
            <a:chExt cx="12065875" cy="5000169"/>
          </a:xfrm>
        </p:grpSpPr>
        <p:sp>
          <p:nvSpPr>
            <p:cNvPr id="6" name="Rectangle 5"/>
            <p:cNvSpPr/>
            <p:nvPr/>
          </p:nvSpPr>
          <p:spPr>
            <a:xfrm>
              <a:off x="630622" y="1458664"/>
              <a:ext cx="6006382" cy="1440000"/>
            </a:xfrm>
            <a:prstGeom prst="rect">
              <a:avLst/>
            </a:prstGeom>
            <a:noFill/>
            <a:ln w="1270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79% </a:t>
              </a: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like to treat themselves to new products </a:t>
              </a:r>
            </a:p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(Index 117) 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30622" y="3094542"/>
              <a:ext cx="3594537" cy="1440000"/>
            </a:xfrm>
            <a:prstGeom prst="rect">
              <a:avLst/>
            </a:prstGeom>
            <a:noFill/>
            <a:ln w="1270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 </a:t>
              </a:r>
              <a:r>
                <a:rPr lang="en-GB" sz="18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60</a:t>
              </a: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% keep up with developments in technology</a:t>
              </a:r>
            </a:p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(index 129)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630623" y="4754698"/>
              <a:ext cx="4288004" cy="1689432"/>
            </a:xfrm>
            <a:prstGeom prst="rect">
              <a:avLst/>
            </a:prstGeom>
            <a:noFill/>
            <a:ln w="1270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63% buy technology that makes </a:t>
              </a:r>
            </a:p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life easier at home</a:t>
              </a:r>
            </a:p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(index 122)</a:t>
              </a: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5097518" y="4754696"/>
              <a:ext cx="3390846" cy="1696785"/>
            </a:xfrm>
            <a:prstGeom prst="rect">
              <a:avLst/>
            </a:prstGeom>
            <a:noFill/>
            <a:ln w="1270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 Over twice more likely to buy </a:t>
              </a:r>
            </a:p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a new games console </a:t>
              </a:r>
            </a:p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in the next 12 months</a:t>
              </a:r>
            </a:p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(index 240)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6791619" y="1451312"/>
              <a:ext cx="5904878" cy="1440000"/>
            </a:xfrm>
            <a:prstGeom prst="rect">
              <a:avLst/>
            </a:prstGeom>
            <a:noFill/>
            <a:ln w="1270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24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38</a:t>
              </a:r>
              <a:r>
                <a:rPr kumimoji="0" lang="en-GB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% </a:t>
              </a: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more likely to be Early Adopters – </a:t>
              </a:r>
            </a:p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to buy new products before their friends</a:t>
              </a: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 </a:t>
              </a:r>
            </a:p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(index 138)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8668985" y="4754696"/>
              <a:ext cx="4027512" cy="1689432"/>
            </a:xfrm>
            <a:prstGeom prst="rect">
              <a:avLst/>
            </a:prstGeom>
            <a:noFill/>
            <a:ln w="1270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Over twice more likely to buy new headphones in the next 12 months</a:t>
              </a:r>
            </a:p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(index 215)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8393915" y="3094542"/>
              <a:ext cx="4302581" cy="1440000"/>
            </a:xfrm>
            <a:prstGeom prst="rect">
              <a:avLst/>
            </a:prstGeom>
            <a:noFill/>
            <a:ln w="1270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‘I keep up with the latest developments </a:t>
              </a:r>
            </a:p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in the gaming industry’ -</a:t>
              </a:r>
            </a:p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85% more likely than the average UK adult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4414345" y="3094542"/>
              <a:ext cx="3802718" cy="1440000"/>
            </a:xfrm>
            <a:prstGeom prst="rect">
              <a:avLst/>
            </a:prstGeom>
            <a:noFill/>
            <a:ln w="12700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53% love to buy new gadgets </a:t>
              </a:r>
            </a:p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and appliances -</a:t>
              </a:r>
            </a:p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6</a:t>
              </a: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% more likely than the average UK adul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34967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mp:transition xmlns:mp="http://schemas.microsoft.com/office/mac/powerpoint/2008/main" spd="med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3FF2144C-6A1C-4BE4-8D4D-241065ABE363}"/>
    </a:ext>
  </a:extLst>
</a:theme>
</file>

<file path=ppt/theme/theme10.xml><?xml version="1.0" encoding="utf-8"?>
<a:theme xmlns:a="http://schemas.openxmlformats.org/drawingml/2006/main" name="4_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68D9017D-C4CA-4838-ACF9-A3DBB91DF9E4}"/>
    </a:ext>
  </a:extLst>
</a:theme>
</file>

<file path=ppt/theme/theme11.xml><?xml version="1.0" encoding="utf-8"?>
<a:theme xmlns:a="http://schemas.openxmlformats.org/drawingml/2006/main" name="1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0935F174-4106-4D07-964D-DD66A52DE9DB}"/>
    </a:ext>
  </a:extLst>
</a:theme>
</file>

<file path=ppt/theme/theme12.xml><?xml version="1.0" encoding="utf-8"?>
<a:theme xmlns:a="http://schemas.openxmlformats.org/drawingml/2006/main" name="6_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68D9017D-C4CA-4838-ACF9-A3DBB91DF9E4}"/>
    </a:ext>
  </a:extLst>
</a:theme>
</file>

<file path=ppt/theme/theme13.xml><?xml version="1.0" encoding="utf-8"?>
<a:theme xmlns:a="http://schemas.openxmlformats.org/drawingml/2006/main" name="1_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94ED719A-3707-4D55-B94C-2F5B14F80F6B}" vid="{EE99761A-A4B5-4226-A783-BCA55B8D99EF}"/>
    </a:ext>
  </a:extLst>
</a:theme>
</file>

<file path=ppt/theme/theme14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68D9017D-C4CA-4838-ACF9-A3DBB91DF9E4}"/>
    </a:ext>
  </a:extLst>
</a:theme>
</file>

<file path=ppt/theme/theme3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0935F174-4106-4D07-964D-DD66A52DE9DB}"/>
    </a:ext>
  </a:extLst>
</a:theme>
</file>

<file path=ppt/theme/theme4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C9FD65CF-771B-485A-85FD-E946D489AD66}"/>
    </a:ext>
  </a:extLst>
</a:theme>
</file>

<file path=ppt/theme/theme5.xml><?xml version="1.0" encoding="utf-8"?>
<a:theme xmlns:a="http://schemas.openxmlformats.org/drawingml/2006/main" name="Co-branding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6AA65A6D-50E3-401E-92D2-748547AE51FA}"/>
    </a:ext>
  </a:extLst>
</a:theme>
</file>

<file path=ppt/theme/theme6.xml><?xml version="1.0" encoding="utf-8"?>
<a:theme xmlns:a="http://schemas.openxmlformats.org/drawingml/2006/main" name="Video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64D13C3F-F175-440C-9544-A8078A72D770}"/>
    </a:ext>
  </a:extLst>
</a:theme>
</file>

<file path=ppt/theme/theme7.xml><?xml version="1.0" encoding="utf-8"?>
<a:theme xmlns:a="http://schemas.openxmlformats.org/drawingml/2006/main" name="Charts and Graphs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53E78992-053D-4CFA-A3B0-5AC09EE9680E}"/>
    </a:ext>
  </a:extLst>
</a:theme>
</file>

<file path=ppt/theme/theme8.xml><?xml version="1.0" encoding="utf-8"?>
<a:theme xmlns:a="http://schemas.openxmlformats.org/drawingml/2006/main" name="Thank You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095D18DF-51D0-478F-97B5-360C6FA66EE5}"/>
    </a:ext>
  </a:extLst>
</a:theme>
</file>

<file path=ppt/theme/theme9.xml><?xml version="1.0" encoding="utf-8"?>
<a:theme xmlns:a="http://schemas.openxmlformats.org/drawingml/2006/main" name="Appendix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248835ED-A982-47BF-944B-5F4719FEBC62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69</Words>
  <Application>Microsoft Office PowerPoint</Application>
  <PresentationFormat>Custom</PresentationFormat>
  <Paragraphs>77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3" baseType="lpstr">
      <vt:lpstr>Arial</vt:lpstr>
      <vt:lpstr>Century Gothic</vt:lpstr>
      <vt:lpstr>Impact</vt:lpstr>
      <vt:lpstr>Wingdings</vt:lpstr>
      <vt:lpstr>Divider Slides</vt:lpstr>
      <vt:lpstr>Statement Slides</vt:lpstr>
      <vt:lpstr>Copy Slides</vt:lpstr>
      <vt:lpstr>Image Slides</vt:lpstr>
      <vt:lpstr>Co-branding Slides</vt:lpstr>
      <vt:lpstr>Video Slides</vt:lpstr>
      <vt:lpstr>Charts and Graphs Slides</vt:lpstr>
      <vt:lpstr>Thank You Slides</vt:lpstr>
      <vt:lpstr>Appendix Slides</vt:lpstr>
      <vt:lpstr>4_Statement Slides</vt:lpstr>
      <vt:lpstr>1_Copy Slides</vt:lpstr>
      <vt:lpstr>6_Statement Slides</vt:lpstr>
      <vt:lpstr>1_Statement Slides</vt:lpstr>
      <vt:lpstr>think-cell Slide</vt:lpstr>
      <vt:lpstr>Spider-man: far from home</vt:lpstr>
      <vt:lpstr>Spider-man will effectively reach young men</vt:lpstr>
      <vt:lpstr>buying 16-34s on tv will be more expensive this summer</vt:lpstr>
      <vt:lpstr>Marvel sequels see significant box office uplift</vt:lpstr>
      <vt:lpstr>Marvel fans are early adopter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12-08T16:13:43Z</dcterms:created>
  <dcterms:modified xsi:type="dcterms:W3CDTF">2019-06-03T11:36:13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